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54" r:id="rId2"/>
  </p:sldMasterIdLst>
  <p:notesMasterIdLst>
    <p:notesMasterId r:id="rId26"/>
  </p:notesMasterIdLst>
  <p:sldIdLst>
    <p:sldId id="323" r:id="rId3"/>
    <p:sldId id="355" r:id="rId4"/>
    <p:sldId id="258" r:id="rId5"/>
    <p:sldId id="276" r:id="rId6"/>
    <p:sldId id="260" r:id="rId7"/>
    <p:sldId id="266" r:id="rId8"/>
    <p:sldId id="356" r:id="rId9"/>
    <p:sldId id="357" r:id="rId10"/>
    <p:sldId id="274" r:id="rId11"/>
    <p:sldId id="275" r:id="rId12"/>
    <p:sldId id="261" r:id="rId13"/>
    <p:sldId id="262" r:id="rId14"/>
    <p:sldId id="279" r:id="rId15"/>
    <p:sldId id="280" r:id="rId16"/>
    <p:sldId id="281" r:id="rId17"/>
    <p:sldId id="282" r:id="rId18"/>
    <p:sldId id="283" r:id="rId19"/>
    <p:sldId id="284" r:id="rId20"/>
    <p:sldId id="287" r:id="rId21"/>
    <p:sldId id="288" r:id="rId22"/>
    <p:sldId id="289" r:id="rId23"/>
    <p:sldId id="358" r:id="rId24"/>
    <p:sldId id="277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61479" autoAdjust="0"/>
  </p:normalViewPr>
  <p:slideViewPr>
    <p:cSldViewPr snapToGrid="0">
      <p:cViewPr varScale="1">
        <p:scale>
          <a:sx n="42" d="100"/>
          <a:sy n="42" d="100"/>
        </p:scale>
        <p:origin x="160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341390-66DB-495A-918D-298E7261E48F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B1D5D5-EA36-484F-85C6-F4D997660568}">
      <dgm:prSet phldrT="[Text]"/>
      <dgm:spPr>
        <a:xfrm>
          <a:off x="436029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9BB71BE0-C50F-4119-8F11-D51FADE1E35A}" type="parTrans" cxnId="{C2B2D660-D79C-4F85-BC81-D4472463D75B}">
      <dgm:prSet/>
      <dgm:spPr/>
      <dgm:t>
        <a:bodyPr/>
        <a:lstStyle/>
        <a:p>
          <a:endParaRPr lang="en-US"/>
        </a:p>
      </dgm:t>
    </dgm:pt>
    <dgm:pt modelId="{65F91A94-2B8A-4CA8-AD68-F29EA1694670}" type="sibTrans" cxnId="{C2B2D660-D79C-4F85-BC81-D4472463D75B}">
      <dgm:prSet/>
      <dgm:spPr/>
      <dgm:t>
        <a:bodyPr/>
        <a:lstStyle/>
        <a:p>
          <a:endParaRPr lang="en-US"/>
        </a:p>
      </dgm:t>
    </dgm:pt>
    <dgm:pt modelId="{4DDFEEC1-DE37-45D7-9C52-6A6BD28B5895}">
      <dgm:prSet phldrT="[Text]"/>
      <dgm:spPr>
        <a:xfrm>
          <a:off x="1255214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FD4A0E50-3476-4FE5-AF1A-B321A3F6F8FC}" type="parTrans" cxnId="{C95D11B0-170F-4F4A-9245-93CC3BAF81F7}">
      <dgm:prSet/>
      <dgm:spPr/>
      <dgm:t>
        <a:bodyPr/>
        <a:lstStyle/>
        <a:p>
          <a:endParaRPr lang="en-US"/>
        </a:p>
      </dgm:t>
    </dgm:pt>
    <dgm:pt modelId="{41FD9C30-B39F-492A-BB1A-DC392A7A0CE9}" type="sibTrans" cxnId="{C95D11B0-170F-4F4A-9245-93CC3BAF81F7}">
      <dgm:prSet/>
      <dgm:spPr/>
      <dgm:t>
        <a:bodyPr/>
        <a:lstStyle/>
        <a:p>
          <a:endParaRPr lang="en-US"/>
        </a:p>
      </dgm:t>
    </dgm:pt>
    <dgm:pt modelId="{33B35829-AB41-4120-9917-754790DB0DD6}">
      <dgm:prSet phldrT="[Text]"/>
      <dgm:spPr>
        <a:xfrm>
          <a:off x="436029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D5C88ACE-74DD-402F-8486-438D2277F78C}" type="parTrans" cxnId="{2BFE9EAE-BB2F-45EE-B51C-C1EA06AAE298}">
      <dgm:prSet/>
      <dgm:spPr/>
      <dgm:t>
        <a:bodyPr/>
        <a:lstStyle/>
        <a:p>
          <a:endParaRPr lang="en-US"/>
        </a:p>
      </dgm:t>
    </dgm:pt>
    <dgm:pt modelId="{233A6BAE-EA6C-431B-9232-A1FFB835D0F3}" type="sibTrans" cxnId="{2BFE9EAE-BB2F-45EE-B51C-C1EA06AAE298}">
      <dgm:prSet/>
      <dgm:spPr/>
      <dgm:t>
        <a:bodyPr/>
        <a:lstStyle/>
        <a:p>
          <a:endParaRPr lang="en-US"/>
        </a:p>
      </dgm:t>
    </dgm:pt>
    <dgm:pt modelId="{648C690D-90F6-4F1F-B9BF-0C639F743B89}">
      <dgm:prSet phldrT="[Text]"/>
      <dgm:spPr>
        <a:xfrm>
          <a:off x="1255214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gm:t>
    </dgm:pt>
    <dgm:pt modelId="{8C5B7AB1-FCD0-4AE5-8711-64B546D5792A}" type="parTrans" cxnId="{CA4C3497-FCEE-432D-85B2-23EBC1BC7D84}">
      <dgm:prSet/>
      <dgm:spPr/>
      <dgm:t>
        <a:bodyPr/>
        <a:lstStyle/>
        <a:p>
          <a:endParaRPr lang="en-US"/>
        </a:p>
      </dgm:t>
    </dgm:pt>
    <dgm:pt modelId="{4EAB030D-0AC4-4DD3-B2A8-B9F3D75A5C0B}" type="sibTrans" cxnId="{CA4C3497-FCEE-432D-85B2-23EBC1BC7D84}">
      <dgm:prSet/>
      <dgm:spPr/>
      <dgm:t>
        <a:bodyPr/>
        <a:lstStyle/>
        <a:p>
          <a:endParaRPr lang="en-US"/>
        </a:p>
      </dgm:t>
    </dgm:pt>
    <dgm:pt modelId="{40B6DF5F-1AE6-40C0-8D23-07B41B10414B}" type="pres">
      <dgm:prSet presAssocID="{72341390-66DB-495A-918D-298E7261E48F}" presName="matrix" presStyleCnt="0">
        <dgm:presLayoutVars>
          <dgm:chMax val="1"/>
          <dgm:dir/>
          <dgm:resizeHandles val="exact"/>
        </dgm:presLayoutVars>
      </dgm:prSet>
      <dgm:spPr/>
    </dgm:pt>
    <dgm:pt modelId="{FC0F87F4-DB90-4CF9-8B83-5CA8CD2EC28A}" type="pres">
      <dgm:prSet presAssocID="{72341390-66DB-495A-918D-298E7261E48F}" presName="diamond" presStyleLbl="bgShp" presStyleIdx="0" presStyleCnt="1" custScaleY="99160" custLinFactNeighborX="-6312" custLinFactNeighborY="-22029"/>
      <dgm:spPr>
        <a:xfrm>
          <a:off x="127626" y="0"/>
          <a:ext cx="1950440" cy="1934056"/>
        </a:xfrm>
        <a:prstGeom prst="diamond">
          <a:avLst/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FACD793F-DE9B-4B93-B3BB-C1AC26DFB103}" type="pres">
      <dgm:prSet presAssocID="{72341390-66DB-495A-918D-298E7261E48F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CE9E689-53FD-4E1E-A627-9042C9A7C2EE}" type="pres">
      <dgm:prSet presAssocID="{72341390-66DB-495A-918D-298E7261E48F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DBF9C54-3BEB-4328-A161-1996D4EA0F33}" type="pres">
      <dgm:prSet presAssocID="{72341390-66DB-495A-918D-298E7261E48F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3CE64BC-74C8-4ABD-8725-51A374909FB8}" type="pres">
      <dgm:prSet presAssocID="{72341390-66DB-495A-918D-298E7261E48F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8478851C-FC75-4DAD-B7D7-5A62429EE7CE}" type="presOf" srcId="{4DDFEEC1-DE37-45D7-9C52-6A6BD28B5895}" destId="{ECE9E689-53FD-4E1E-A627-9042C9A7C2EE}" srcOrd="0" destOrd="0" presId="urn:microsoft.com/office/officeart/2005/8/layout/matrix3"/>
    <dgm:cxn modelId="{7B24B41C-1047-49A1-8521-2D8FE90AD152}" type="presOf" srcId="{72341390-66DB-495A-918D-298E7261E48F}" destId="{40B6DF5F-1AE6-40C0-8D23-07B41B10414B}" srcOrd="0" destOrd="0" presId="urn:microsoft.com/office/officeart/2005/8/layout/matrix3"/>
    <dgm:cxn modelId="{C2B2D660-D79C-4F85-BC81-D4472463D75B}" srcId="{72341390-66DB-495A-918D-298E7261E48F}" destId="{28B1D5D5-EA36-484F-85C6-F4D997660568}" srcOrd="0" destOrd="0" parTransId="{9BB71BE0-C50F-4119-8F11-D51FADE1E35A}" sibTransId="{65F91A94-2B8A-4CA8-AD68-F29EA1694670}"/>
    <dgm:cxn modelId="{0B964C8C-461B-4BC6-9130-71A07524E171}" type="presOf" srcId="{28B1D5D5-EA36-484F-85C6-F4D997660568}" destId="{FACD793F-DE9B-4B93-B3BB-C1AC26DFB103}" srcOrd="0" destOrd="0" presId="urn:microsoft.com/office/officeart/2005/8/layout/matrix3"/>
    <dgm:cxn modelId="{CA4C3497-FCEE-432D-85B2-23EBC1BC7D84}" srcId="{72341390-66DB-495A-918D-298E7261E48F}" destId="{648C690D-90F6-4F1F-B9BF-0C639F743B89}" srcOrd="3" destOrd="0" parTransId="{8C5B7AB1-FCD0-4AE5-8711-64B546D5792A}" sibTransId="{4EAB030D-0AC4-4DD3-B2A8-B9F3D75A5C0B}"/>
    <dgm:cxn modelId="{CD8C1C9D-DE24-4586-9158-A3B080C55D51}" type="presOf" srcId="{33B35829-AB41-4120-9917-754790DB0DD6}" destId="{2DBF9C54-3BEB-4328-A161-1996D4EA0F33}" srcOrd="0" destOrd="0" presId="urn:microsoft.com/office/officeart/2005/8/layout/matrix3"/>
    <dgm:cxn modelId="{2BFE9EAE-BB2F-45EE-B51C-C1EA06AAE298}" srcId="{72341390-66DB-495A-918D-298E7261E48F}" destId="{33B35829-AB41-4120-9917-754790DB0DD6}" srcOrd="2" destOrd="0" parTransId="{D5C88ACE-74DD-402F-8486-438D2277F78C}" sibTransId="{233A6BAE-EA6C-431B-9232-A1FFB835D0F3}"/>
    <dgm:cxn modelId="{C95D11B0-170F-4F4A-9245-93CC3BAF81F7}" srcId="{72341390-66DB-495A-918D-298E7261E48F}" destId="{4DDFEEC1-DE37-45D7-9C52-6A6BD28B5895}" srcOrd="1" destOrd="0" parTransId="{FD4A0E50-3476-4FE5-AF1A-B321A3F6F8FC}" sibTransId="{41FD9C30-B39F-492A-BB1A-DC392A7A0CE9}"/>
    <dgm:cxn modelId="{2893ECD1-DC91-4BCD-B24C-42ABCFBC603B}" type="presOf" srcId="{648C690D-90F6-4F1F-B9BF-0C639F743B89}" destId="{63CE64BC-74C8-4ABD-8725-51A374909FB8}" srcOrd="0" destOrd="0" presId="urn:microsoft.com/office/officeart/2005/8/layout/matrix3"/>
    <dgm:cxn modelId="{004202CD-283B-4455-9273-81CB04708985}" type="presParOf" srcId="{40B6DF5F-1AE6-40C0-8D23-07B41B10414B}" destId="{FC0F87F4-DB90-4CF9-8B83-5CA8CD2EC28A}" srcOrd="0" destOrd="0" presId="urn:microsoft.com/office/officeart/2005/8/layout/matrix3"/>
    <dgm:cxn modelId="{570E9712-784C-458A-8EDA-6943390A7744}" type="presParOf" srcId="{40B6DF5F-1AE6-40C0-8D23-07B41B10414B}" destId="{FACD793F-DE9B-4B93-B3BB-C1AC26DFB103}" srcOrd="1" destOrd="0" presId="urn:microsoft.com/office/officeart/2005/8/layout/matrix3"/>
    <dgm:cxn modelId="{3EB78188-9AC3-42B3-A4C3-6874C48A8E18}" type="presParOf" srcId="{40B6DF5F-1AE6-40C0-8D23-07B41B10414B}" destId="{ECE9E689-53FD-4E1E-A627-9042C9A7C2EE}" srcOrd="2" destOrd="0" presId="urn:microsoft.com/office/officeart/2005/8/layout/matrix3"/>
    <dgm:cxn modelId="{5907326C-7FFC-4F16-B68B-469E56CD4D27}" type="presParOf" srcId="{40B6DF5F-1AE6-40C0-8D23-07B41B10414B}" destId="{2DBF9C54-3BEB-4328-A161-1996D4EA0F33}" srcOrd="3" destOrd="0" presId="urn:microsoft.com/office/officeart/2005/8/layout/matrix3"/>
    <dgm:cxn modelId="{BCED2CFE-1437-43C7-827C-4554A2D4ABB6}" type="presParOf" srcId="{40B6DF5F-1AE6-40C0-8D23-07B41B10414B}" destId="{63CE64BC-74C8-4ABD-8725-51A374909FB8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317FC61A-8B38-423D-85C5-AD0231C015D4}" type="presOf" srcId="{759E22E0-453C-4E04-9D3C-05C6AC8E70F4}" destId="{6BFDCA3C-BC56-4E06-926F-7D39F4D737D6}" srcOrd="0" destOrd="0" presId="urn:microsoft.com/office/officeart/2005/8/layout/gear1"/>
    <dgm:cxn modelId="{D8FB5043-B7F5-4352-BB5F-A4C3F78F2CDD}" type="presOf" srcId="{759E22E0-453C-4E04-9D3C-05C6AC8E70F4}" destId="{35E117F0-359D-4432-86CF-085E6F7B3BC1}" srcOrd="1" destOrd="0" presId="urn:microsoft.com/office/officeart/2005/8/layout/gear1"/>
    <dgm:cxn modelId="{304B5743-48DA-4F7D-8957-779781189A2C}" type="presOf" srcId="{8BEBA896-74D0-420E-A026-F4DD586D0A96}" destId="{9CD13E73-B073-49A3-9A60-29E85AC67A83}" srcOrd="0" destOrd="0" presId="urn:microsoft.com/office/officeart/2005/8/layout/gear1"/>
    <dgm:cxn modelId="{7DBBDB45-BC4E-4562-ACB5-F983FE7FD22F}" type="presOf" srcId="{A980E77F-9FD7-4E82-ADA6-DAB8B55A4F33}" destId="{3A7134FE-714D-411B-BD61-5003ADC99F2C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59504F92-274A-4618-A3EA-ABACE3B2284F}" type="presOf" srcId="{489DE19B-1B15-4163-B4CF-BC11233135D7}" destId="{562ECC08-8706-4619-A5CA-CE66868C8189}" srcOrd="0" destOrd="0" presId="urn:microsoft.com/office/officeart/2005/8/layout/gear1"/>
    <dgm:cxn modelId="{35E944A3-DAE8-4700-BFE9-C46662435967}" type="presOf" srcId="{3E4F87F3-B7E9-46B0-8AF5-0A00D08C2F9A}" destId="{CB933D01-85DF-4ACA-8F56-EF7200CABBBE}" srcOrd="0" destOrd="0" presId="urn:microsoft.com/office/officeart/2005/8/layout/gear1"/>
    <dgm:cxn modelId="{520EC6A9-7C9E-4729-9091-E880B931DED6}" type="presOf" srcId="{346A2996-A973-4AA0-86EB-35011D6F1208}" destId="{B59F5C7E-FFBA-458C-9D1F-620A21EA3E2E}" srcOrd="0" destOrd="0" presId="urn:microsoft.com/office/officeart/2005/8/layout/gear1"/>
    <dgm:cxn modelId="{5FE5C8AA-7C98-4BD6-A1B3-2897B16B0CA3}" type="presOf" srcId="{489DE19B-1B15-4163-B4CF-BC11233135D7}" destId="{99187215-C830-4B86-9488-A24E6E9DA5AB}" srcOrd="1" destOrd="0" presId="urn:microsoft.com/office/officeart/2005/8/layout/gear1"/>
    <dgm:cxn modelId="{D7457EB2-2435-496C-AAB6-F0F66CCBE4C6}" type="presOf" srcId="{489DE19B-1B15-4163-B4CF-BC11233135D7}" destId="{ECCCAB0C-C798-4576-9792-35AE8CDE727A}" srcOrd="2" destOrd="0" presId="urn:microsoft.com/office/officeart/2005/8/layout/gear1"/>
    <dgm:cxn modelId="{176D7BB8-94D0-4187-9FDC-118C81FE93DE}" type="presOf" srcId="{8BEBA896-74D0-420E-A026-F4DD586D0A96}" destId="{006CFE5F-88A1-4BD8-A190-DBCCC0237109}" srcOrd="3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571008BD-530C-4C6C-8653-C7AE9D7F05F3}" type="presOf" srcId="{8BEBA896-74D0-420E-A026-F4DD586D0A96}" destId="{55C562E0-4A6E-4D3C-8A4F-824332179991}" srcOrd="1" destOrd="0" presId="urn:microsoft.com/office/officeart/2005/8/layout/gear1"/>
    <dgm:cxn modelId="{74DE3AC5-FA90-4610-8FC8-6CC98AF14098}" type="presOf" srcId="{8BEBA896-74D0-420E-A026-F4DD586D0A96}" destId="{22A1428B-C13D-47FF-8857-4968563239AA}" srcOrd="2" destOrd="0" presId="urn:microsoft.com/office/officeart/2005/8/layout/gear1"/>
    <dgm:cxn modelId="{BB5103C8-9596-4BBA-936D-55ADC1877F72}" type="presOf" srcId="{A8E245A5-E197-48CB-A714-13020267C68D}" destId="{A8F2358E-09C9-4E43-892A-2F3B1C14546F}" srcOrd="0" destOrd="0" presId="urn:microsoft.com/office/officeart/2005/8/layout/gear1"/>
    <dgm:cxn modelId="{85F320EE-F5D2-419F-90C8-A3B41740A442}" type="presOf" srcId="{759E22E0-453C-4E04-9D3C-05C6AC8E70F4}" destId="{A172F568-9BB8-44FB-8AE7-E8EB1798A33B}" srcOrd="2" destOrd="0" presId="urn:microsoft.com/office/officeart/2005/8/layout/gear1"/>
    <dgm:cxn modelId="{5049D665-CE92-4EB2-9F3A-B479EB823193}" type="presParOf" srcId="{CB933D01-85DF-4ACA-8F56-EF7200CABBBE}" destId="{562ECC08-8706-4619-A5CA-CE66868C8189}" srcOrd="0" destOrd="0" presId="urn:microsoft.com/office/officeart/2005/8/layout/gear1"/>
    <dgm:cxn modelId="{A1F123FF-1CA3-4DA1-96FF-BAA0A692EAF7}" type="presParOf" srcId="{CB933D01-85DF-4ACA-8F56-EF7200CABBBE}" destId="{99187215-C830-4B86-9488-A24E6E9DA5AB}" srcOrd="1" destOrd="0" presId="urn:microsoft.com/office/officeart/2005/8/layout/gear1"/>
    <dgm:cxn modelId="{0DBF3187-6064-43B4-87EC-AE1FA0D5CF42}" type="presParOf" srcId="{CB933D01-85DF-4ACA-8F56-EF7200CABBBE}" destId="{ECCCAB0C-C798-4576-9792-35AE8CDE727A}" srcOrd="2" destOrd="0" presId="urn:microsoft.com/office/officeart/2005/8/layout/gear1"/>
    <dgm:cxn modelId="{7D799AAD-A678-4433-B8EB-5826481274BB}" type="presParOf" srcId="{CB933D01-85DF-4ACA-8F56-EF7200CABBBE}" destId="{6BFDCA3C-BC56-4E06-926F-7D39F4D737D6}" srcOrd="3" destOrd="0" presId="urn:microsoft.com/office/officeart/2005/8/layout/gear1"/>
    <dgm:cxn modelId="{E9DA2900-7B92-4165-97EA-36D771D4FC03}" type="presParOf" srcId="{CB933D01-85DF-4ACA-8F56-EF7200CABBBE}" destId="{35E117F0-359D-4432-86CF-085E6F7B3BC1}" srcOrd="4" destOrd="0" presId="urn:microsoft.com/office/officeart/2005/8/layout/gear1"/>
    <dgm:cxn modelId="{E0D98DDF-BF54-48BE-A9F3-BD0BEF67DC84}" type="presParOf" srcId="{CB933D01-85DF-4ACA-8F56-EF7200CABBBE}" destId="{A172F568-9BB8-44FB-8AE7-E8EB1798A33B}" srcOrd="5" destOrd="0" presId="urn:microsoft.com/office/officeart/2005/8/layout/gear1"/>
    <dgm:cxn modelId="{A69ECC88-3696-4E3B-ADCF-F72AB37AD827}" type="presParOf" srcId="{CB933D01-85DF-4ACA-8F56-EF7200CABBBE}" destId="{9CD13E73-B073-49A3-9A60-29E85AC67A83}" srcOrd="6" destOrd="0" presId="urn:microsoft.com/office/officeart/2005/8/layout/gear1"/>
    <dgm:cxn modelId="{4D45AADD-406A-4814-BD79-E9FFFD76AE55}" type="presParOf" srcId="{CB933D01-85DF-4ACA-8F56-EF7200CABBBE}" destId="{55C562E0-4A6E-4D3C-8A4F-824332179991}" srcOrd="7" destOrd="0" presId="urn:microsoft.com/office/officeart/2005/8/layout/gear1"/>
    <dgm:cxn modelId="{535C35C3-02F1-49EB-A367-B4F80C4917E4}" type="presParOf" srcId="{CB933D01-85DF-4ACA-8F56-EF7200CABBBE}" destId="{22A1428B-C13D-47FF-8857-4968563239AA}" srcOrd="8" destOrd="0" presId="urn:microsoft.com/office/officeart/2005/8/layout/gear1"/>
    <dgm:cxn modelId="{73B7B69B-E4EE-4753-B92E-F45FD76FC469}" type="presParOf" srcId="{CB933D01-85DF-4ACA-8F56-EF7200CABBBE}" destId="{006CFE5F-88A1-4BD8-A190-DBCCC0237109}" srcOrd="9" destOrd="0" presId="urn:microsoft.com/office/officeart/2005/8/layout/gear1"/>
    <dgm:cxn modelId="{3CAC3187-96E7-4F92-86F3-1816D5D0F6D1}" type="presParOf" srcId="{CB933D01-85DF-4ACA-8F56-EF7200CABBBE}" destId="{B59F5C7E-FFBA-458C-9D1F-620A21EA3E2E}" srcOrd="10" destOrd="0" presId="urn:microsoft.com/office/officeart/2005/8/layout/gear1"/>
    <dgm:cxn modelId="{2F530E9E-E2AB-4880-9EFA-504E4CE641FE}" type="presParOf" srcId="{CB933D01-85DF-4ACA-8F56-EF7200CABBBE}" destId="{A8F2358E-09C9-4E43-892A-2F3B1C14546F}" srcOrd="11" destOrd="0" presId="urn:microsoft.com/office/officeart/2005/8/layout/gear1"/>
    <dgm:cxn modelId="{3FB0C81F-2F05-431D-B86E-03C4118B8CB5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01193E0C-E788-4997-B906-FABAD8748D5D}" type="presOf" srcId="{489DE19B-1B15-4163-B4CF-BC11233135D7}" destId="{562ECC08-8706-4619-A5CA-CE66868C8189}" srcOrd="0" destOrd="0" presId="urn:microsoft.com/office/officeart/2005/8/layout/gear1"/>
    <dgm:cxn modelId="{F2BF0D19-D19F-46B2-A0FE-FA826293C061}" type="presOf" srcId="{3E4F87F3-B7E9-46B0-8AF5-0A00D08C2F9A}" destId="{CB933D01-85DF-4ACA-8F56-EF7200CABBBE}" srcOrd="0" destOrd="0" presId="urn:microsoft.com/office/officeart/2005/8/layout/gear1"/>
    <dgm:cxn modelId="{3361D836-CBB3-46A3-B68F-EE3E40725032}" type="presOf" srcId="{489DE19B-1B15-4163-B4CF-BC11233135D7}" destId="{99187215-C830-4B86-9488-A24E6E9DA5AB}" srcOrd="1" destOrd="0" presId="urn:microsoft.com/office/officeart/2005/8/layout/gear1"/>
    <dgm:cxn modelId="{03E08E37-AF92-4A99-8B96-FA9AC73BD7D6}" type="presOf" srcId="{8BEBA896-74D0-420E-A026-F4DD586D0A96}" destId="{9CD13E73-B073-49A3-9A60-29E85AC67A83}" srcOrd="0" destOrd="0" presId="urn:microsoft.com/office/officeart/2005/8/layout/gear1"/>
    <dgm:cxn modelId="{FE9E0D67-F1B7-415A-B09D-6B1FC0D72310}" type="presOf" srcId="{759E22E0-453C-4E04-9D3C-05C6AC8E70F4}" destId="{35E117F0-359D-4432-86CF-085E6F7B3BC1}" srcOrd="1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7A12F0B5-6998-4BAE-BC39-7013C5007D96}" type="presOf" srcId="{A8E245A5-E197-48CB-A714-13020267C68D}" destId="{A8F2358E-09C9-4E43-892A-2F3B1C14546F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8813ADBD-53E3-4F5A-A273-218B0F9B1040}" type="presOf" srcId="{759E22E0-453C-4E04-9D3C-05C6AC8E70F4}" destId="{6BFDCA3C-BC56-4E06-926F-7D39F4D737D6}" srcOrd="0" destOrd="0" presId="urn:microsoft.com/office/officeart/2005/8/layout/gear1"/>
    <dgm:cxn modelId="{60FA81C7-B0E9-49D3-B265-FDE683B910DA}" type="presOf" srcId="{8BEBA896-74D0-420E-A026-F4DD586D0A96}" destId="{22A1428B-C13D-47FF-8857-4968563239AA}" srcOrd="2" destOrd="0" presId="urn:microsoft.com/office/officeart/2005/8/layout/gear1"/>
    <dgm:cxn modelId="{3AB94BCB-0346-428B-9D63-0CF1C9034128}" type="presOf" srcId="{759E22E0-453C-4E04-9D3C-05C6AC8E70F4}" destId="{A172F568-9BB8-44FB-8AE7-E8EB1798A33B}" srcOrd="2" destOrd="0" presId="urn:microsoft.com/office/officeart/2005/8/layout/gear1"/>
    <dgm:cxn modelId="{27D69DD4-893C-4AA9-97CB-5D71E2E13F6D}" type="presOf" srcId="{A980E77F-9FD7-4E82-ADA6-DAB8B55A4F33}" destId="{3A7134FE-714D-411B-BD61-5003ADC99F2C}" srcOrd="0" destOrd="0" presId="urn:microsoft.com/office/officeart/2005/8/layout/gear1"/>
    <dgm:cxn modelId="{BFCB8BD8-6CCA-4EF6-9A4B-8DA953EE10FB}" type="presOf" srcId="{489DE19B-1B15-4163-B4CF-BC11233135D7}" destId="{ECCCAB0C-C798-4576-9792-35AE8CDE727A}" srcOrd="2" destOrd="0" presId="urn:microsoft.com/office/officeart/2005/8/layout/gear1"/>
    <dgm:cxn modelId="{88DDA2E4-5FD8-42EA-B0A6-65A7E6654D45}" type="presOf" srcId="{8BEBA896-74D0-420E-A026-F4DD586D0A96}" destId="{006CFE5F-88A1-4BD8-A190-DBCCC0237109}" srcOrd="3" destOrd="0" presId="urn:microsoft.com/office/officeart/2005/8/layout/gear1"/>
    <dgm:cxn modelId="{A07E2CE7-D2EE-4989-AF83-A16FEC0D3909}" type="presOf" srcId="{8BEBA896-74D0-420E-A026-F4DD586D0A96}" destId="{55C562E0-4A6E-4D3C-8A4F-824332179991}" srcOrd="1" destOrd="0" presId="urn:microsoft.com/office/officeart/2005/8/layout/gear1"/>
    <dgm:cxn modelId="{5B70EFF3-B7A6-48E8-9E05-6A045F08E4C6}" type="presOf" srcId="{346A2996-A973-4AA0-86EB-35011D6F1208}" destId="{B59F5C7E-FFBA-458C-9D1F-620A21EA3E2E}" srcOrd="0" destOrd="0" presId="urn:microsoft.com/office/officeart/2005/8/layout/gear1"/>
    <dgm:cxn modelId="{F820ECE4-8672-427C-9356-273E92205F9D}" type="presParOf" srcId="{CB933D01-85DF-4ACA-8F56-EF7200CABBBE}" destId="{562ECC08-8706-4619-A5CA-CE66868C8189}" srcOrd="0" destOrd="0" presId="urn:microsoft.com/office/officeart/2005/8/layout/gear1"/>
    <dgm:cxn modelId="{F07689C0-AEA0-420B-AEEA-17BDC2D870E7}" type="presParOf" srcId="{CB933D01-85DF-4ACA-8F56-EF7200CABBBE}" destId="{99187215-C830-4B86-9488-A24E6E9DA5AB}" srcOrd="1" destOrd="0" presId="urn:microsoft.com/office/officeart/2005/8/layout/gear1"/>
    <dgm:cxn modelId="{D3C2D875-6893-4748-B762-C1428BD86549}" type="presParOf" srcId="{CB933D01-85DF-4ACA-8F56-EF7200CABBBE}" destId="{ECCCAB0C-C798-4576-9792-35AE8CDE727A}" srcOrd="2" destOrd="0" presId="urn:microsoft.com/office/officeart/2005/8/layout/gear1"/>
    <dgm:cxn modelId="{68D5E60A-9CC8-4DA3-AB20-90E1EC896378}" type="presParOf" srcId="{CB933D01-85DF-4ACA-8F56-EF7200CABBBE}" destId="{6BFDCA3C-BC56-4E06-926F-7D39F4D737D6}" srcOrd="3" destOrd="0" presId="urn:microsoft.com/office/officeart/2005/8/layout/gear1"/>
    <dgm:cxn modelId="{2DA7A678-ED11-48B1-98CE-AC8DDBF08E2B}" type="presParOf" srcId="{CB933D01-85DF-4ACA-8F56-EF7200CABBBE}" destId="{35E117F0-359D-4432-86CF-085E6F7B3BC1}" srcOrd="4" destOrd="0" presId="urn:microsoft.com/office/officeart/2005/8/layout/gear1"/>
    <dgm:cxn modelId="{F6897A89-E605-4E5C-AFA8-7956542BD5AA}" type="presParOf" srcId="{CB933D01-85DF-4ACA-8F56-EF7200CABBBE}" destId="{A172F568-9BB8-44FB-8AE7-E8EB1798A33B}" srcOrd="5" destOrd="0" presId="urn:microsoft.com/office/officeart/2005/8/layout/gear1"/>
    <dgm:cxn modelId="{86FD2EC2-715F-45F9-9AA6-3F2999955163}" type="presParOf" srcId="{CB933D01-85DF-4ACA-8F56-EF7200CABBBE}" destId="{9CD13E73-B073-49A3-9A60-29E85AC67A83}" srcOrd="6" destOrd="0" presId="urn:microsoft.com/office/officeart/2005/8/layout/gear1"/>
    <dgm:cxn modelId="{9D8F8DA5-0113-4628-B5C5-C5B2A1007013}" type="presParOf" srcId="{CB933D01-85DF-4ACA-8F56-EF7200CABBBE}" destId="{55C562E0-4A6E-4D3C-8A4F-824332179991}" srcOrd="7" destOrd="0" presId="urn:microsoft.com/office/officeart/2005/8/layout/gear1"/>
    <dgm:cxn modelId="{30A599B8-1E2B-4D43-9078-3E9AC4950D78}" type="presParOf" srcId="{CB933D01-85DF-4ACA-8F56-EF7200CABBBE}" destId="{22A1428B-C13D-47FF-8857-4968563239AA}" srcOrd="8" destOrd="0" presId="urn:microsoft.com/office/officeart/2005/8/layout/gear1"/>
    <dgm:cxn modelId="{79EB4A9B-939F-4D70-96AD-44B9EB0C3218}" type="presParOf" srcId="{CB933D01-85DF-4ACA-8F56-EF7200CABBBE}" destId="{006CFE5F-88A1-4BD8-A190-DBCCC0237109}" srcOrd="9" destOrd="0" presId="urn:microsoft.com/office/officeart/2005/8/layout/gear1"/>
    <dgm:cxn modelId="{7F30AD09-0F55-4A4C-A969-E85EFAE9990C}" type="presParOf" srcId="{CB933D01-85DF-4ACA-8F56-EF7200CABBBE}" destId="{B59F5C7E-FFBA-458C-9D1F-620A21EA3E2E}" srcOrd="10" destOrd="0" presId="urn:microsoft.com/office/officeart/2005/8/layout/gear1"/>
    <dgm:cxn modelId="{F3AD2DA0-A77F-447F-B786-573427775911}" type="presParOf" srcId="{CB933D01-85DF-4ACA-8F56-EF7200CABBBE}" destId="{A8F2358E-09C9-4E43-892A-2F3B1C14546F}" srcOrd="11" destOrd="0" presId="urn:microsoft.com/office/officeart/2005/8/layout/gear1"/>
    <dgm:cxn modelId="{85810E0F-1D81-4DB7-9095-F53FA579A682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5E74D305-1C31-460B-9DAF-4699626914AC}" type="presOf" srcId="{489DE19B-1B15-4163-B4CF-BC11233135D7}" destId="{99187215-C830-4B86-9488-A24E6E9DA5AB}" srcOrd="1" destOrd="0" presId="urn:microsoft.com/office/officeart/2005/8/layout/gear1"/>
    <dgm:cxn modelId="{AF3E5013-F827-43F0-BACD-CA6EAD8108FB}" type="presOf" srcId="{346A2996-A973-4AA0-86EB-35011D6F1208}" destId="{B59F5C7E-FFBA-458C-9D1F-620A21EA3E2E}" srcOrd="0" destOrd="0" presId="urn:microsoft.com/office/officeart/2005/8/layout/gear1"/>
    <dgm:cxn modelId="{22777B22-9805-42F5-BDED-9C446F3342E8}" type="presOf" srcId="{3E4F87F3-B7E9-46B0-8AF5-0A00D08C2F9A}" destId="{CB933D01-85DF-4ACA-8F56-EF7200CABBBE}" srcOrd="0" destOrd="0" presId="urn:microsoft.com/office/officeart/2005/8/layout/gear1"/>
    <dgm:cxn modelId="{57A8432E-5A01-4843-B8AF-E8031827524A}" type="presOf" srcId="{489DE19B-1B15-4163-B4CF-BC11233135D7}" destId="{562ECC08-8706-4619-A5CA-CE66868C8189}" srcOrd="0" destOrd="0" presId="urn:microsoft.com/office/officeart/2005/8/layout/gear1"/>
    <dgm:cxn modelId="{92EEA137-41E2-4D43-AAB3-F627103B75A4}" type="presOf" srcId="{759E22E0-453C-4E04-9D3C-05C6AC8E70F4}" destId="{6BFDCA3C-BC56-4E06-926F-7D39F4D737D6}" srcOrd="0" destOrd="0" presId="urn:microsoft.com/office/officeart/2005/8/layout/gear1"/>
    <dgm:cxn modelId="{B2938B5F-914C-4C91-81A6-71E8E271A82D}" type="presOf" srcId="{759E22E0-453C-4E04-9D3C-05C6AC8E70F4}" destId="{A172F568-9BB8-44FB-8AE7-E8EB1798A33B}" srcOrd="2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7564C68C-87DD-43C5-A6E8-A4EFF1B72C44}" type="presOf" srcId="{489DE19B-1B15-4163-B4CF-BC11233135D7}" destId="{ECCCAB0C-C798-4576-9792-35AE8CDE727A}" srcOrd="2" destOrd="0" presId="urn:microsoft.com/office/officeart/2005/8/layout/gear1"/>
    <dgm:cxn modelId="{E5E4ACA4-7901-48EE-9D62-59576E39F1E9}" type="presOf" srcId="{8BEBA896-74D0-420E-A026-F4DD586D0A96}" destId="{22A1428B-C13D-47FF-8857-4968563239AA}" srcOrd="2" destOrd="0" presId="urn:microsoft.com/office/officeart/2005/8/layout/gear1"/>
    <dgm:cxn modelId="{7514DFB9-93D5-4EE8-AE80-00E6EAD92125}" type="presOf" srcId="{8BEBA896-74D0-420E-A026-F4DD586D0A96}" destId="{9CD13E73-B073-49A3-9A60-29E85AC67A83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4B758BC3-7CFE-4F9D-88A9-716CD0D8BC0C}" type="presOf" srcId="{8BEBA896-74D0-420E-A026-F4DD586D0A96}" destId="{55C562E0-4A6E-4D3C-8A4F-824332179991}" srcOrd="1" destOrd="0" presId="urn:microsoft.com/office/officeart/2005/8/layout/gear1"/>
    <dgm:cxn modelId="{3CF095D0-2EED-41C0-B7CA-673296B110DD}" type="presOf" srcId="{8BEBA896-74D0-420E-A026-F4DD586D0A96}" destId="{006CFE5F-88A1-4BD8-A190-DBCCC0237109}" srcOrd="3" destOrd="0" presId="urn:microsoft.com/office/officeart/2005/8/layout/gear1"/>
    <dgm:cxn modelId="{6ED922D3-11B2-4267-959C-B8A7DA16C25E}" type="presOf" srcId="{A980E77F-9FD7-4E82-ADA6-DAB8B55A4F33}" destId="{3A7134FE-714D-411B-BD61-5003ADC99F2C}" srcOrd="0" destOrd="0" presId="urn:microsoft.com/office/officeart/2005/8/layout/gear1"/>
    <dgm:cxn modelId="{A778A5D9-DED2-40C1-9118-65917D0C0E80}" type="presOf" srcId="{A8E245A5-E197-48CB-A714-13020267C68D}" destId="{A8F2358E-09C9-4E43-892A-2F3B1C14546F}" srcOrd="0" destOrd="0" presId="urn:microsoft.com/office/officeart/2005/8/layout/gear1"/>
    <dgm:cxn modelId="{F6A865F9-D738-4879-8736-87A3DCB4DD67}" type="presOf" srcId="{759E22E0-453C-4E04-9D3C-05C6AC8E70F4}" destId="{35E117F0-359D-4432-86CF-085E6F7B3BC1}" srcOrd="1" destOrd="0" presId="urn:microsoft.com/office/officeart/2005/8/layout/gear1"/>
    <dgm:cxn modelId="{6D2FB398-B703-4835-8843-CE9339B8E045}" type="presParOf" srcId="{CB933D01-85DF-4ACA-8F56-EF7200CABBBE}" destId="{562ECC08-8706-4619-A5CA-CE66868C8189}" srcOrd="0" destOrd="0" presId="urn:microsoft.com/office/officeart/2005/8/layout/gear1"/>
    <dgm:cxn modelId="{1372CC3A-27FC-4EAB-B400-4DB2A7403735}" type="presParOf" srcId="{CB933D01-85DF-4ACA-8F56-EF7200CABBBE}" destId="{99187215-C830-4B86-9488-A24E6E9DA5AB}" srcOrd="1" destOrd="0" presId="urn:microsoft.com/office/officeart/2005/8/layout/gear1"/>
    <dgm:cxn modelId="{B982E72A-499B-4472-975C-2A46EAC29C1A}" type="presParOf" srcId="{CB933D01-85DF-4ACA-8F56-EF7200CABBBE}" destId="{ECCCAB0C-C798-4576-9792-35AE8CDE727A}" srcOrd="2" destOrd="0" presId="urn:microsoft.com/office/officeart/2005/8/layout/gear1"/>
    <dgm:cxn modelId="{F7F74B6A-781E-4F21-B3DF-9C871DF6F365}" type="presParOf" srcId="{CB933D01-85DF-4ACA-8F56-EF7200CABBBE}" destId="{6BFDCA3C-BC56-4E06-926F-7D39F4D737D6}" srcOrd="3" destOrd="0" presId="urn:microsoft.com/office/officeart/2005/8/layout/gear1"/>
    <dgm:cxn modelId="{854B9624-A0CA-4C05-A121-CA07D22D1E63}" type="presParOf" srcId="{CB933D01-85DF-4ACA-8F56-EF7200CABBBE}" destId="{35E117F0-359D-4432-86CF-085E6F7B3BC1}" srcOrd="4" destOrd="0" presId="urn:microsoft.com/office/officeart/2005/8/layout/gear1"/>
    <dgm:cxn modelId="{154B2EB8-954B-481B-9185-872B1A01C441}" type="presParOf" srcId="{CB933D01-85DF-4ACA-8F56-EF7200CABBBE}" destId="{A172F568-9BB8-44FB-8AE7-E8EB1798A33B}" srcOrd="5" destOrd="0" presId="urn:microsoft.com/office/officeart/2005/8/layout/gear1"/>
    <dgm:cxn modelId="{DF82D957-9FCE-4F8A-A654-AA44D5939D59}" type="presParOf" srcId="{CB933D01-85DF-4ACA-8F56-EF7200CABBBE}" destId="{9CD13E73-B073-49A3-9A60-29E85AC67A83}" srcOrd="6" destOrd="0" presId="urn:microsoft.com/office/officeart/2005/8/layout/gear1"/>
    <dgm:cxn modelId="{C7B2C774-F085-4216-87F9-83FBFDD72B83}" type="presParOf" srcId="{CB933D01-85DF-4ACA-8F56-EF7200CABBBE}" destId="{55C562E0-4A6E-4D3C-8A4F-824332179991}" srcOrd="7" destOrd="0" presId="urn:microsoft.com/office/officeart/2005/8/layout/gear1"/>
    <dgm:cxn modelId="{F2665F9D-9730-4763-A68C-CD2F6DB33C96}" type="presParOf" srcId="{CB933D01-85DF-4ACA-8F56-EF7200CABBBE}" destId="{22A1428B-C13D-47FF-8857-4968563239AA}" srcOrd="8" destOrd="0" presId="urn:microsoft.com/office/officeart/2005/8/layout/gear1"/>
    <dgm:cxn modelId="{8FF3F543-EA52-4F98-994E-AA3105148A45}" type="presParOf" srcId="{CB933D01-85DF-4ACA-8F56-EF7200CABBBE}" destId="{006CFE5F-88A1-4BD8-A190-DBCCC0237109}" srcOrd="9" destOrd="0" presId="urn:microsoft.com/office/officeart/2005/8/layout/gear1"/>
    <dgm:cxn modelId="{2AD71AE4-BA2C-4127-82E8-6BD9509043B4}" type="presParOf" srcId="{CB933D01-85DF-4ACA-8F56-EF7200CABBBE}" destId="{B59F5C7E-FFBA-458C-9D1F-620A21EA3E2E}" srcOrd="10" destOrd="0" presId="urn:microsoft.com/office/officeart/2005/8/layout/gear1"/>
    <dgm:cxn modelId="{6ED2440F-596B-47AA-9A03-15A3AEF2752C}" type="presParOf" srcId="{CB933D01-85DF-4ACA-8F56-EF7200CABBBE}" destId="{A8F2358E-09C9-4E43-892A-2F3B1C14546F}" srcOrd="11" destOrd="0" presId="urn:microsoft.com/office/officeart/2005/8/layout/gear1"/>
    <dgm:cxn modelId="{5685DA94-2FB8-41FE-B76A-99FC610241E3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CC1A750F-B688-4B3A-8147-E6FCA62EDB33}" type="presOf" srcId="{A8E245A5-E197-48CB-A714-13020267C68D}" destId="{A8F2358E-09C9-4E43-892A-2F3B1C14546F}" srcOrd="0" destOrd="0" presId="urn:microsoft.com/office/officeart/2005/8/layout/gear1"/>
    <dgm:cxn modelId="{912F1566-D847-4096-A2B0-FC0F94988BB7}" type="presOf" srcId="{3E4F87F3-B7E9-46B0-8AF5-0A00D08C2F9A}" destId="{CB933D01-85DF-4ACA-8F56-EF7200CABBBE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9F12057B-92F9-4275-B51B-07F6F218B009}" type="presOf" srcId="{759E22E0-453C-4E04-9D3C-05C6AC8E70F4}" destId="{35E117F0-359D-4432-86CF-085E6F7B3BC1}" srcOrd="1" destOrd="0" presId="urn:microsoft.com/office/officeart/2005/8/layout/gear1"/>
    <dgm:cxn modelId="{277EA989-BD70-4190-8211-2FCD1022C663}" type="presOf" srcId="{A980E77F-9FD7-4E82-ADA6-DAB8B55A4F33}" destId="{3A7134FE-714D-411B-BD61-5003ADC99F2C}" srcOrd="0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9D09AF90-6835-4E8F-A561-04644181CA74}" type="presOf" srcId="{759E22E0-453C-4E04-9D3C-05C6AC8E70F4}" destId="{A172F568-9BB8-44FB-8AE7-E8EB1798A33B}" srcOrd="2" destOrd="0" presId="urn:microsoft.com/office/officeart/2005/8/layout/gear1"/>
    <dgm:cxn modelId="{72B64D9E-D5A6-4D4C-90F7-D1D7E7B69630}" type="presOf" srcId="{489DE19B-1B15-4163-B4CF-BC11233135D7}" destId="{99187215-C830-4B86-9488-A24E6E9DA5AB}" srcOrd="1" destOrd="0" presId="urn:microsoft.com/office/officeart/2005/8/layout/gear1"/>
    <dgm:cxn modelId="{2C32EDBC-7D43-492B-B9A1-025E75F15127}" type="presOf" srcId="{489DE19B-1B15-4163-B4CF-BC11233135D7}" destId="{562ECC08-8706-4619-A5CA-CE66868C8189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8DAAF3BE-0A0D-43F9-9522-DB0878A90CC7}" type="presOf" srcId="{8BEBA896-74D0-420E-A026-F4DD586D0A96}" destId="{006CFE5F-88A1-4BD8-A190-DBCCC0237109}" srcOrd="3" destOrd="0" presId="urn:microsoft.com/office/officeart/2005/8/layout/gear1"/>
    <dgm:cxn modelId="{4421F8C7-7D97-4730-82B4-87645644B023}" type="presOf" srcId="{489DE19B-1B15-4163-B4CF-BC11233135D7}" destId="{ECCCAB0C-C798-4576-9792-35AE8CDE727A}" srcOrd="2" destOrd="0" presId="urn:microsoft.com/office/officeart/2005/8/layout/gear1"/>
    <dgm:cxn modelId="{FA79DDCA-D362-4C02-A894-BACA5DD02504}" type="presOf" srcId="{8BEBA896-74D0-420E-A026-F4DD586D0A96}" destId="{55C562E0-4A6E-4D3C-8A4F-824332179991}" srcOrd="1" destOrd="0" presId="urn:microsoft.com/office/officeart/2005/8/layout/gear1"/>
    <dgm:cxn modelId="{C43C56CC-9DE6-4D48-8A41-04D7C03F811A}" type="presOf" srcId="{759E22E0-453C-4E04-9D3C-05C6AC8E70F4}" destId="{6BFDCA3C-BC56-4E06-926F-7D39F4D737D6}" srcOrd="0" destOrd="0" presId="urn:microsoft.com/office/officeart/2005/8/layout/gear1"/>
    <dgm:cxn modelId="{F1C254D8-0383-438F-8F9E-0F864BF9AF43}" type="presOf" srcId="{8BEBA896-74D0-420E-A026-F4DD586D0A96}" destId="{9CD13E73-B073-49A3-9A60-29E85AC67A83}" srcOrd="0" destOrd="0" presId="urn:microsoft.com/office/officeart/2005/8/layout/gear1"/>
    <dgm:cxn modelId="{C5E20ADF-0464-4116-A657-F282CA10D91A}" type="presOf" srcId="{346A2996-A973-4AA0-86EB-35011D6F1208}" destId="{B59F5C7E-FFBA-458C-9D1F-620A21EA3E2E}" srcOrd="0" destOrd="0" presId="urn:microsoft.com/office/officeart/2005/8/layout/gear1"/>
    <dgm:cxn modelId="{4A376CFB-E34E-4ECC-8786-F1D9139B78B3}" type="presOf" srcId="{8BEBA896-74D0-420E-A026-F4DD586D0A96}" destId="{22A1428B-C13D-47FF-8857-4968563239AA}" srcOrd="2" destOrd="0" presId="urn:microsoft.com/office/officeart/2005/8/layout/gear1"/>
    <dgm:cxn modelId="{8C0A9554-0425-4E66-AFEE-48F0AB7F04E7}" type="presParOf" srcId="{CB933D01-85DF-4ACA-8F56-EF7200CABBBE}" destId="{562ECC08-8706-4619-A5CA-CE66868C8189}" srcOrd="0" destOrd="0" presId="urn:microsoft.com/office/officeart/2005/8/layout/gear1"/>
    <dgm:cxn modelId="{79E81555-928D-4832-AC97-671175543BF0}" type="presParOf" srcId="{CB933D01-85DF-4ACA-8F56-EF7200CABBBE}" destId="{99187215-C830-4B86-9488-A24E6E9DA5AB}" srcOrd="1" destOrd="0" presId="urn:microsoft.com/office/officeart/2005/8/layout/gear1"/>
    <dgm:cxn modelId="{37831FC7-310B-4A9B-A114-5FE6143B5127}" type="presParOf" srcId="{CB933D01-85DF-4ACA-8F56-EF7200CABBBE}" destId="{ECCCAB0C-C798-4576-9792-35AE8CDE727A}" srcOrd="2" destOrd="0" presId="urn:microsoft.com/office/officeart/2005/8/layout/gear1"/>
    <dgm:cxn modelId="{35499A22-4FE0-4B1A-BBE9-919398D2E558}" type="presParOf" srcId="{CB933D01-85DF-4ACA-8F56-EF7200CABBBE}" destId="{6BFDCA3C-BC56-4E06-926F-7D39F4D737D6}" srcOrd="3" destOrd="0" presId="urn:microsoft.com/office/officeart/2005/8/layout/gear1"/>
    <dgm:cxn modelId="{156A1DD0-9200-4D8E-8ABF-FC6EA78804D1}" type="presParOf" srcId="{CB933D01-85DF-4ACA-8F56-EF7200CABBBE}" destId="{35E117F0-359D-4432-86CF-085E6F7B3BC1}" srcOrd="4" destOrd="0" presId="urn:microsoft.com/office/officeart/2005/8/layout/gear1"/>
    <dgm:cxn modelId="{7BC21826-8043-44BC-ADF5-A589B1868F44}" type="presParOf" srcId="{CB933D01-85DF-4ACA-8F56-EF7200CABBBE}" destId="{A172F568-9BB8-44FB-8AE7-E8EB1798A33B}" srcOrd="5" destOrd="0" presId="urn:microsoft.com/office/officeart/2005/8/layout/gear1"/>
    <dgm:cxn modelId="{38E4A452-CE56-4295-A4F1-36D05644313D}" type="presParOf" srcId="{CB933D01-85DF-4ACA-8F56-EF7200CABBBE}" destId="{9CD13E73-B073-49A3-9A60-29E85AC67A83}" srcOrd="6" destOrd="0" presId="urn:microsoft.com/office/officeart/2005/8/layout/gear1"/>
    <dgm:cxn modelId="{A72AE5D7-A023-49EA-867A-364C22B72A8C}" type="presParOf" srcId="{CB933D01-85DF-4ACA-8F56-EF7200CABBBE}" destId="{55C562E0-4A6E-4D3C-8A4F-824332179991}" srcOrd="7" destOrd="0" presId="urn:microsoft.com/office/officeart/2005/8/layout/gear1"/>
    <dgm:cxn modelId="{FCBB58A5-F056-4B39-96F3-1864B1697B73}" type="presParOf" srcId="{CB933D01-85DF-4ACA-8F56-EF7200CABBBE}" destId="{22A1428B-C13D-47FF-8857-4968563239AA}" srcOrd="8" destOrd="0" presId="urn:microsoft.com/office/officeart/2005/8/layout/gear1"/>
    <dgm:cxn modelId="{644DCB37-B880-4C0E-8BFA-764437D78E6E}" type="presParOf" srcId="{CB933D01-85DF-4ACA-8F56-EF7200CABBBE}" destId="{006CFE5F-88A1-4BD8-A190-DBCCC0237109}" srcOrd="9" destOrd="0" presId="urn:microsoft.com/office/officeart/2005/8/layout/gear1"/>
    <dgm:cxn modelId="{DD57DD52-B091-40B6-B2A8-C77F0D1D10D3}" type="presParOf" srcId="{CB933D01-85DF-4ACA-8F56-EF7200CABBBE}" destId="{B59F5C7E-FFBA-458C-9D1F-620A21EA3E2E}" srcOrd="10" destOrd="0" presId="urn:microsoft.com/office/officeart/2005/8/layout/gear1"/>
    <dgm:cxn modelId="{519BB8D4-2783-4675-8827-E86BB5ABDF8C}" type="presParOf" srcId="{CB933D01-85DF-4ACA-8F56-EF7200CABBBE}" destId="{A8F2358E-09C9-4E43-892A-2F3B1C14546F}" srcOrd="11" destOrd="0" presId="urn:microsoft.com/office/officeart/2005/8/layout/gear1"/>
    <dgm:cxn modelId="{BBE00DB7-49BE-4ACE-A41D-D1ADB0740A39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3DF26D5D-93FC-4B4B-A940-2A1A44D14BEE}" type="presOf" srcId="{759E22E0-453C-4E04-9D3C-05C6AC8E70F4}" destId="{A172F568-9BB8-44FB-8AE7-E8EB1798A33B}" srcOrd="2" destOrd="0" presId="urn:microsoft.com/office/officeart/2005/8/layout/gear1"/>
    <dgm:cxn modelId="{57B56644-B839-4A4D-A17B-98DE37F7B30B}" type="presOf" srcId="{3E4F87F3-B7E9-46B0-8AF5-0A00D08C2F9A}" destId="{CB933D01-85DF-4ACA-8F56-EF7200CABBBE}" srcOrd="0" destOrd="0" presId="urn:microsoft.com/office/officeart/2005/8/layout/gear1"/>
    <dgm:cxn modelId="{AAD26767-458C-4016-9CDA-2FC1C505EC99}" type="presOf" srcId="{A8E245A5-E197-48CB-A714-13020267C68D}" destId="{A8F2358E-09C9-4E43-892A-2F3B1C14546F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180D3C6C-EAEF-44D6-86BD-CCCD8FD08644}" type="presOf" srcId="{489DE19B-1B15-4163-B4CF-BC11233135D7}" destId="{562ECC08-8706-4619-A5CA-CE66868C8189}" srcOrd="0" destOrd="0" presId="urn:microsoft.com/office/officeart/2005/8/layout/gear1"/>
    <dgm:cxn modelId="{4AB97554-354D-420E-831E-EBE4C93A2DD6}" type="presOf" srcId="{759E22E0-453C-4E04-9D3C-05C6AC8E70F4}" destId="{6BFDCA3C-BC56-4E06-926F-7D39F4D737D6}" srcOrd="0" destOrd="0" presId="urn:microsoft.com/office/officeart/2005/8/layout/gear1"/>
    <dgm:cxn modelId="{5CCDB956-E8CC-4EF7-8264-C3088FC31688}" type="presOf" srcId="{346A2996-A973-4AA0-86EB-35011D6F1208}" destId="{B59F5C7E-FFBA-458C-9D1F-620A21EA3E2E}" srcOrd="0" destOrd="0" presId="urn:microsoft.com/office/officeart/2005/8/layout/gear1"/>
    <dgm:cxn modelId="{036E6F7D-E359-4443-A673-ECFE363C86F9}" type="presOf" srcId="{759E22E0-453C-4E04-9D3C-05C6AC8E70F4}" destId="{35E117F0-359D-4432-86CF-085E6F7B3BC1}" srcOrd="1" destOrd="0" presId="urn:microsoft.com/office/officeart/2005/8/layout/gear1"/>
    <dgm:cxn modelId="{19EFD485-7FBE-486B-B84C-DB773F6A93F0}" type="presOf" srcId="{8BEBA896-74D0-420E-A026-F4DD586D0A96}" destId="{006CFE5F-88A1-4BD8-A190-DBCCC0237109}" srcOrd="3" destOrd="0" presId="urn:microsoft.com/office/officeart/2005/8/layout/gear1"/>
    <dgm:cxn modelId="{AF236D88-9E12-47A9-A49D-6E31500E5610}" type="presOf" srcId="{8BEBA896-74D0-420E-A026-F4DD586D0A96}" destId="{22A1428B-C13D-47FF-8857-4968563239AA}" srcOrd="2" destOrd="0" presId="urn:microsoft.com/office/officeart/2005/8/layout/gear1"/>
    <dgm:cxn modelId="{56899989-2ABA-4359-9307-D1A9F0F4604D}" type="presOf" srcId="{489DE19B-1B15-4163-B4CF-BC11233135D7}" destId="{ECCCAB0C-C798-4576-9792-35AE8CDE727A}" srcOrd="2" destOrd="0" presId="urn:microsoft.com/office/officeart/2005/8/layout/gear1"/>
    <dgm:cxn modelId="{0B10EA89-5C0D-4B02-9BD8-8376F0BAD3FE}" type="presOf" srcId="{8BEBA896-74D0-420E-A026-F4DD586D0A96}" destId="{55C562E0-4A6E-4D3C-8A4F-824332179991}" srcOrd="1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6DBBD598-A97A-4339-858B-C2F8B7B4E4EC}" type="presOf" srcId="{A980E77F-9FD7-4E82-ADA6-DAB8B55A4F33}" destId="{3A7134FE-714D-411B-BD61-5003ADC99F2C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92B25FCB-2A7B-4A42-9A4D-371F90F3FBBC}" type="presOf" srcId="{489DE19B-1B15-4163-B4CF-BC11233135D7}" destId="{99187215-C830-4B86-9488-A24E6E9DA5AB}" srcOrd="1" destOrd="0" presId="urn:microsoft.com/office/officeart/2005/8/layout/gear1"/>
    <dgm:cxn modelId="{0664CCD7-DC16-4D0D-98CB-97B1BCEC3A59}" type="presOf" srcId="{8BEBA896-74D0-420E-A026-F4DD586D0A96}" destId="{9CD13E73-B073-49A3-9A60-29E85AC67A83}" srcOrd="0" destOrd="0" presId="urn:microsoft.com/office/officeart/2005/8/layout/gear1"/>
    <dgm:cxn modelId="{AE4B746F-D898-4478-851C-E9F083D1DDA9}" type="presParOf" srcId="{CB933D01-85DF-4ACA-8F56-EF7200CABBBE}" destId="{562ECC08-8706-4619-A5CA-CE66868C8189}" srcOrd="0" destOrd="0" presId="urn:microsoft.com/office/officeart/2005/8/layout/gear1"/>
    <dgm:cxn modelId="{64889A3F-A27E-4E19-97A4-CBE37434B849}" type="presParOf" srcId="{CB933D01-85DF-4ACA-8F56-EF7200CABBBE}" destId="{99187215-C830-4B86-9488-A24E6E9DA5AB}" srcOrd="1" destOrd="0" presId="urn:microsoft.com/office/officeart/2005/8/layout/gear1"/>
    <dgm:cxn modelId="{E7C39B7A-16C0-4A0E-82B3-88A0537E3FEF}" type="presParOf" srcId="{CB933D01-85DF-4ACA-8F56-EF7200CABBBE}" destId="{ECCCAB0C-C798-4576-9792-35AE8CDE727A}" srcOrd="2" destOrd="0" presId="urn:microsoft.com/office/officeart/2005/8/layout/gear1"/>
    <dgm:cxn modelId="{8AAF58CC-727B-4594-A512-85BE34190D37}" type="presParOf" srcId="{CB933D01-85DF-4ACA-8F56-EF7200CABBBE}" destId="{6BFDCA3C-BC56-4E06-926F-7D39F4D737D6}" srcOrd="3" destOrd="0" presId="urn:microsoft.com/office/officeart/2005/8/layout/gear1"/>
    <dgm:cxn modelId="{3000E6C2-DD70-460B-BA15-AC7D01B11F9B}" type="presParOf" srcId="{CB933D01-85DF-4ACA-8F56-EF7200CABBBE}" destId="{35E117F0-359D-4432-86CF-085E6F7B3BC1}" srcOrd="4" destOrd="0" presId="urn:microsoft.com/office/officeart/2005/8/layout/gear1"/>
    <dgm:cxn modelId="{238C44B7-1B94-4B10-87F0-45C58AFE9497}" type="presParOf" srcId="{CB933D01-85DF-4ACA-8F56-EF7200CABBBE}" destId="{A172F568-9BB8-44FB-8AE7-E8EB1798A33B}" srcOrd="5" destOrd="0" presId="urn:microsoft.com/office/officeart/2005/8/layout/gear1"/>
    <dgm:cxn modelId="{0291BD22-C7CA-4B30-8DE3-C9527394EA83}" type="presParOf" srcId="{CB933D01-85DF-4ACA-8F56-EF7200CABBBE}" destId="{9CD13E73-B073-49A3-9A60-29E85AC67A83}" srcOrd="6" destOrd="0" presId="urn:microsoft.com/office/officeart/2005/8/layout/gear1"/>
    <dgm:cxn modelId="{1DB4B193-0CE8-42B0-B349-348E59B498BE}" type="presParOf" srcId="{CB933D01-85DF-4ACA-8F56-EF7200CABBBE}" destId="{55C562E0-4A6E-4D3C-8A4F-824332179991}" srcOrd="7" destOrd="0" presId="urn:microsoft.com/office/officeart/2005/8/layout/gear1"/>
    <dgm:cxn modelId="{D9512F81-4D47-4FD6-A807-257D44A8E8A7}" type="presParOf" srcId="{CB933D01-85DF-4ACA-8F56-EF7200CABBBE}" destId="{22A1428B-C13D-47FF-8857-4968563239AA}" srcOrd="8" destOrd="0" presId="urn:microsoft.com/office/officeart/2005/8/layout/gear1"/>
    <dgm:cxn modelId="{A43F4869-FD2E-464D-9191-09FFEB264FD0}" type="presParOf" srcId="{CB933D01-85DF-4ACA-8F56-EF7200CABBBE}" destId="{006CFE5F-88A1-4BD8-A190-DBCCC0237109}" srcOrd="9" destOrd="0" presId="urn:microsoft.com/office/officeart/2005/8/layout/gear1"/>
    <dgm:cxn modelId="{79BA0B16-7732-476C-8D4A-438C267E444A}" type="presParOf" srcId="{CB933D01-85DF-4ACA-8F56-EF7200CABBBE}" destId="{B59F5C7E-FFBA-458C-9D1F-620A21EA3E2E}" srcOrd="10" destOrd="0" presId="urn:microsoft.com/office/officeart/2005/8/layout/gear1"/>
    <dgm:cxn modelId="{6A408027-3CAB-4F64-9ADE-4CFF0C832E6E}" type="presParOf" srcId="{CB933D01-85DF-4ACA-8F56-EF7200CABBBE}" destId="{A8F2358E-09C9-4E43-892A-2F3B1C14546F}" srcOrd="11" destOrd="0" presId="urn:microsoft.com/office/officeart/2005/8/layout/gear1"/>
    <dgm:cxn modelId="{BCE585DD-388A-4BB5-8E0E-501C9ED016BB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4CB36407-014D-48D8-95AF-3AF107152D59}" type="presOf" srcId="{489DE19B-1B15-4163-B4CF-BC11233135D7}" destId="{ECCCAB0C-C798-4576-9792-35AE8CDE727A}" srcOrd="2" destOrd="0" presId="urn:microsoft.com/office/officeart/2005/8/layout/gear1"/>
    <dgm:cxn modelId="{CF264F3B-188F-469E-B05E-D02130805918}" type="presOf" srcId="{8BEBA896-74D0-420E-A026-F4DD586D0A96}" destId="{22A1428B-C13D-47FF-8857-4968563239AA}" srcOrd="2" destOrd="0" presId="urn:microsoft.com/office/officeart/2005/8/layout/gear1"/>
    <dgm:cxn modelId="{E325D55C-EF83-473B-888E-E490A4FBC271}" type="presOf" srcId="{A8E245A5-E197-48CB-A714-13020267C68D}" destId="{A8F2358E-09C9-4E43-892A-2F3B1C14546F}" srcOrd="0" destOrd="0" presId="urn:microsoft.com/office/officeart/2005/8/layout/gear1"/>
    <dgm:cxn modelId="{E8925967-887A-43AF-9B13-4A6B9139BAC5}" type="presOf" srcId="{489DE19B-1B15-4163-B4CF-BC11233135D7}" destId="{562ECC08-8706-4619-A5CA-CE66868C8189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87D70F80-959A-42FE-8918-606C4EB570DF}" type="presOf" srcId="{8BEBA896-74D0-420E-A026-F4DD586D0A96}" destId="{55C562E0-4A6E-4D3C-8A4F-824332179991}" srcOrd="1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C0A2DC93-688D-480F-88D9-7769363DBC04}" type="presOf" srcId="{759E22E0-453C-4E04-9D3C-05C6AC8E70F4}" destId="{35E117F0-359D-4432-86CF-085E6F7B3BC1}" srcOrd="1" destOrd="0" presId="urn:microsoft.com/office/officeart/2005/8/layout/gear1"/>
    <dgm:cxn modelId="{18D6979E-50E8-428F-8AA7-B235089E10B8}" type="presOf" srcId="{489DE19B-1B15-4163-B4CF-BC11233135D7}" destId="{99187215-C830-4B86-9488-A24E6E9DA5AB}" srcOrd="1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DC61D9C1-2365-495B-A937-268438545618}" type="presOf" srcId="{346A2996-A973-4AA0-86EB-35011D6F1208}" destId="{B59F5C7E-FFBA-458C-9D1F-620A21EA3E2E}" srcOrd="0" destOrd="0" presId="urn:microsoft.com/office/officeart/2005/8/layout/gear1"/>
    <dgm:cxn modelId="{C3DB5DCD-5E25-4BC7-BB88-1AD120916365}" type="presOf" srcId="{8BEBA896-74D0-420E-A026-F4DD586D0A96}" destId="{006CFE5F-88A1-4BD8-A190-DBCCC0237109}" srcOrd="3" destOrd="0" presId="urn:microsoft.com/office/officeart/2005/8/layout/gear1"/>
    <dgm:cxn modelId="{B6AD35D9-F3FF-4753-9317-6EB57D882995}" type="presOf" srcId="{759E22E0-453C-4E04-9D3C-05C6AC8E70F4}" destId="{6BFDCA3C-BC56-4E06-926F-7D39F4D737D6}" srcOrd="0" destOrd="0" presId="urn:microsoft.com/office/officeart/2005/8/layout/gear1"/>
    <dgm:cxn modelId="{69DCDAEE-07D1-4E90-B15F-4948EF6F4F0A}" type="presOf" srcId="{759E22E0-453C-4E04-9D3C-05C6AC8E70F4}" destId="{A172F568-9BB8-44FB-8AE7-E8EB1798A33B}" srcOrd="2" destOrd="0" presId="urn:microsoft.com/office/officeart/2005/8/layout/gear1"/>
    <dgm:cxn modelId="{1FB6CDFB-ED8E-4ECF-B9EC-C7FFC5889EBF}" type="presOf" srcId="{A980E77F-9FD7-4E82-ADA6-DAB8B55A4F33}" destId="{3A7134FE-714D-411B-BD61-5003ADC99F2C}" srcOrd="0" destOrd="0" presId="urn:microsoft.com/office/officeart/2005/8/layout/gear1"/>
    <dgm:cxn modelId="{EC8CEAFD-72D7-4527-8291-4074EABFFBA8}" type="presOf" srcId="{8BEBA896-74D0-420E-A026-F4DD586D0A96}" destId="{9CD13E73-B073-49A3-9A60-29E85AC67A83}" srcOrd="0" destOrd="0" presId="urn:microsoft.com/office/officeart/2005/8/layout/gear1"/>
    <dgm:cxn modelId="{0C55A0FE-55D5-4324-BF1C-1E539E9CD48D}" type="presOf" srcId="{3E4F87F3-B7E9-46B0-8AF5-0A00D08C2F9A}" destId="{CB933D01-85DF-4ACA-8F56-EF7200CABBBE}" srcOrd="0" destOrd="0" presId="urn:microsoft.com/office/officeart/2005/8/layout/gear1"/>
    <dgm:cxn modelId="{143A8137-ACD3-44BC-A589-2E5221C31176}" type="presParOf" srcId="{CB933D01-85DF-4ACA-8F56-EF7200CABBBE}" destId="{562ECC08-8706-4619-A5CA-CE66868C8189}" srcOrd="0" destOrd="0" presId="urn:microsoft.com/office/officeart/2005/8/layout/gear1"/>
    <dgm:cxn modelId="{75065114-F898-4861-91CD-B7192D650FBF}" type="presParOf" srcId="{CB933D01-85DF-4ACA-8F56-EF7200CABBBE}" destId="{99187215-C830-4B86-9488-A24E6E9DA5AB}" srcOrd="1" destOrd="0" presId="urn:microsoft.com/office/officeart/2005/8/layout/gear1"/>
    <dgm:cxn modelId="{F81E7D02-4054-486A-95C2-84E72C825F82}" type="presParOf" srcId="{CB933D01-85DF-4ACA-8F56-EF7200CABBBE}" destId="{ECCCAB0C-C798-4576-9792-35AE8CDE727A}" srcOrd="2" destOrd="0" presId="urn:microsoft.com/office/officeart/2005/8/layout/gear1"/>
    <dgm:cxn modelId="{3C01CA0B-ADEC-4CAD-A648-2F0D6AA1C1BE}" type="presParOf" srcId="{CB933D01-85DF-4ACA-8F56-EF7200CABBBE}" destId="{6BFDCA3C-BC56-4E06-926F-7D39F4D737D6}" srcOrd="3" destOrd="0" presId="urn:microsoft.com/office/officeart/2005/8/layout/gear1"/>
    <dgm:cxn modelId="{B50C633C-D866-49F9-8742-7C8E81D9F51F}" type="presParOf" srcId="{CB933D01-85DF-4ACA-8F56-EF7200CABBBE}" destId="{35E117F0-359D-4432-86CF-085E6F7B3BC1}" srcOrd="4" destOrd="0" presId="urn:microsoft.com/office/officeart/2005/8/layout/gear1"/>
    <dgm:cxn modelId="{3CD9B60A-26BD-42A8-97FC-750EA9FFFA3B}" type="presParOf" srcId="{CB933D01-85DF-4ACA-8F56-EF7200CABBBE}" destId="{A172F568-9BB8-44FB-8AE7-E8EB1798A33B}" srcOrd="5" destOrd="0" presId="urn:microsoft.com/office/officeart/2005/8/layout/gear1"/>
    <dgm:cxn modelId="{C2B84E50-AE28-472C-B5F2-ED5C36178E5D}" type="presParOf" srcId="{CB933D01-85DF-4ACA-8F56-EF7200CABBBE}" destId="{9CD13E73-B073-49A3-9A60-29E85AC67A83}" srcOrd="6" destOrd="0" presId="urn:microsoft.com/office/officeart/2005/8/layout/gear1"/>
    <dgm:cxn modelId="{99B2D416-A133-4CF5-8443-EA181806254E}" type="presParOf" srcId="{CB933D01-85DF-4ACA-8F56-EF7200CABBBE}" destId="{55C562E0-4A6E-4D3C-8A4F-824332179991}" srcOrd="7" destOrd="0" presId="urn:microsoft.com/office/officeart/2005/8/layout/gear1"/>
    <dgm:cxn modelId="{BD400AB9-57FD-404D-8F20-2AFC3CED3E26}" type="presParOf" srcId="{CB933D01-85DF-4ACA-8F56-EF7200CABBBE}" destId="{22A1428B-C13D-47FF-8857-4968563239AA}" srcOrd="8" destOrd="0" presId="urn:microsoft.com/office/officeart/2005/8/layout/gear1"/>
    <dgm:cxn modelId="{BEE8153C-A435-44A3-94E6-5D7473346DB8}" type="presParOf" srcId="{CB933D01-85DF-4ACA-8F56-EF7200CABBBE}" destId="{006CFE5F-88A1-4BD8-A190-DBCCC0237109}" srcOrd="9" destOrd="0" presId="urn:microsoft.com/office/officeart/2005/8/layout/gear1"/>
    <dgm:cxn modelId="{282B81A4-73F0-4A12-9523-CBACDD7F9CA6}" type="presParOf" srcId="{CB933D01-85DF-4ACA-8F56-EF7200CABBBE}" destId="{B59F5C7E-FFBA-458C-9D1F-620A21EA3E2E}" srcOrd="10" destOrd="0" presId="urn:microsoft.com/office/officeart/2005/8/layout/gear1"/>
    <dgm:cxn modelId="{ACD3990B-C75C-4F85-8858-9CEEA1DC9ED3}" type="presParOf" srcId="{CB933D01-85DF-4ACA-8F56-EF7200CABBBE}" destId="{A8F2358E-09C9-4E43-892A-2F3B1C14546F}" srcOrd="11" destOrd="0" presId="urn:microsoft.com/office/officeart/2005/8/layout/gear1"/>
    <dgm:cxn modelId="{16176C12-6BF7-4BB8-873E-71DF66152CF7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947FEE1D-926F-4B9A-BAB9-45C5E4582F55}" type="presOf" srcId="{3E4F87F3-B7E9-46B0-8AF5-0A00D08C2F9A}" destId="{CB933D01-85DF-4ACA-8F56-EF7200CABBBE}" srcOrd="0" destOrd="0" presId="urn:microsoft.com/office/officeart/2005/8/layout/gear1"/>
    <dgm:cxn modelId="{8FFE2C20-25CE-4D7A-ADE6-DCDA86DC54C7}" type="presOf" srcId="{A980E77F-9FD7-4E82-ADA6-DAB8B55A4F33}" destId="{3A7134FE-714D-411B-BD61-5003ADC99F2C}" srcOrd="0" destOrd="0" presId="urn:microsoft.com/office/officeart/2005/8/layout/gear1"/>
    <dgm:cxn modelId="{9739DE24-76E1-46E3-A41F-DE806BE5BD7C}" type="presOf" srcId="{8BEBA896-74D0-420E-A026-F4DD586D0A96}" destId="{9CD13E73-B073-49A3-9A60-29E85AC67A83}" srcOrd="0" destOrd="0" presId="urn:microsoft.com/office/officeart/2005/8/layout/gear1"/>
    <dgm:cxn modelId="{C0648734-122A-4DA3-9B9B-61852D4C21A4}" type="presOf" srcId="{759E22E0-453C-4E04-9D3C-05C6AC8E70F4}" destId="{35E117F0-359D-4432-86CF-085E6F7B3BC1}" srcOrd="1" destOrd="0" presId="urn:microsoft.com/office/officeart/2005/8/layout/gear1"/>
    <dgm:cxn modelId="{E6A53A5E-10ED-4485-BB00-B38F83B1617B}" type="presOf" srcId="{489DE19B-1B15-4163-B4CF-BC11233135D7}" destId="{ECCCAB0C-C798-4576-9792-35AE8CDE727A}" srcOrd="2" destOrd="0" presId="urn:microsoft.com/office/officeart/2005/8/layout/gear1"/>
    <dgm:cxn modelId="{1702A95E-773C-4CB1-9150-3228C8ACB1B4}" type="presOf" srcId="{759E22E0-453C-4E04-9D3C-05C6AC8E70F4}" destId="{6BFDCA3C-BC56-4E06-926F-7D39F4D737D6}" srcOrd="0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E4C5B86B-99A8-4C8C-8A55-82D1DBD44D1B}" type="presOf" srcId="{346A2996-A973-4AA0-86EB-35011D6F1208}" destId="{B59F5C7E-FFBA-458C-9D1F-620A21EA3E2E}" srcOrd="0" destOrd="0" presId="urn:microsoft.com/office/officeart/2005/8/layout/gear1"/>
    <dgm:cxn modelId="{75404D74-526B-4A4F-A7FA-43B28A51C170}" type="presOf" srcId="{489DE19B-1B15-4163-B4CF-BC11233135D7}" destId="{562ECC08-8706-4619-A5CA-CE66868C8189}" srcOrd="0" destOrd="0" presId="urn:microsoft.com/office/officeart/2005/8/layout/gear1"/>
    <dgm:cxn modelId="{0784A97E-0158-4276-B5E0-E11BF45E1DE8}" type="presOf" srcId="{759E22E0-453C-4E04-9D3C-05C6AC8E70F4}" destId="{A172F568-9BB8-44FB-8AE7-E8EB1798A33B}" srcOrd="2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BF49A293-63BB-49E3-B8E7-8C401C39A922}" type="presOf" srcId="{A8E245A5-E197-48CB-A714-13020267C68D}" destId="{A8F2358E-09C9-4E43-892A-2F3B1C14546F}" srcOrd="0" destOrd="0" presId="urn:microsoft.com/office/officeart/2005/8/layout/gear1"/>
    <dgm:cxn modelId="{8EC5459C-DA05-4129-9D67-5C171C921A2B}" type="presOf" srcId="{8BEBA896-74D0-420E-A026-F4DD586D0A96}" destId="{22A1428B-C13D-47FF-8857-4968563239AA}" srcOrd="2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4CBAB5D2-67E3-4444-8CEF-378353A18C70}" type="presOf" srcId="{8BEBA896-74D0-420E-A026-F4DD586D0A96}" destId="{55C562E0-4A6E-4D3C-8A4F-824332179991}" srcOrd="1" destOrd="0" presId="urn:microsoft.com/office/officeart/2005/8/layout/gear1"/>
    <dgm:cxn modelId="{FB02BAE3-94EE-4D43-809E-DD2C1EE9A6CC}" type="presOf" srcId="{8BEBA896-74D0-420E-A026-F4DD586D0A96}" destId="{006CFE5F-88A1-4BD8-A190-DBCCC0237109}" srcOrd="3" destOrd="0" presId="urn:microsoft.com/office/officeart/2005/8/layout/gear1"/>
    <dgm:cxn modelId="{7AED6CFC-67C4-4E49-9D65-33D2F4012B20}" type="presOf" srcId="{489DE19B-1B15-4163-B4CF-BC11233135D7}" destId="{99187215-C830-4B86-9488-A24E6E9DA5AB}" srcOrd="1" destOrd="0" presId="urn:microsoft.com/office/officeart/2005/8/layout/gear1"/>
    <dgm:cxn modelId="{7E80267C-41A2-4344-8217-7867268F0BD4}" type="presParOf" srcId="{CB933D01-85DF-4ACA-8F56-EF7200CABBBE}" destId="{562ECC08-8706-4619-A5CA-CE66868C8189}" srcOrd="0" destOrd="0" presId="urn:microsoft.com/office/officeart/2005/8/layout/gear1"/>
    <dgm:cxn modelId="{2A798280-8D07-458F-B954-7B9504E027DE}" type="presParOf" srcId="{CB933D01-85DF-4ACA-8F56-EF7200CABBBE}" destId="{99187215-C830-4B86-9488-A24E6E9DA5AB}" srcOrd="1" destOrd="0" presId="urn:microsoft.com/office/officeart/2005/8/layout/gear1"/>
    <dgm:cxn modelId="{9094E02C-E1B7-4DAC-BD22-86C72B4BC0CC}" type="presParOf" srcId="{CB933D01-85DF-4ACA-8F56-EF7200CABBBE}" destId="{ECCCAB0C-C798-4576-9792-35AE8CDE727A}" srcOrd="2" destOrd="0" presId="urn:microsoft.com/office/officeart/2005/8/layout/gear1"/>
    <dgm:cxn modelId="{C46AA016-421B-4139-BD27-872639C3DCE5}" type="presParOf" srcId="{CB933D01-85DF-4ACA-8F56-EF7200CABBBE}" destId="{6BFDCA3C-BC56-4E06-926F-7D39F4D737D6}" srcOrd="3" destOrd="0" presId="urn:microsoft.com/office/officeart/2005/8/layout/gear1"/>
    <dgm:cxn modelId="{4080A54B-044B-4591-955D-080FBEC9334A}" type="presParOf" srcId="{CB933D01-85DF-4ACA-8F56-EF7200CABBBE}" destId="{35E117F0-359D-4432-86CF-085E6F7B3BC1}" srcOrd="4" destOrd="0" presId="urn:microsoft.com/office/officeart/2005/8/layout/gear1"/>
    <dgm:cxn modelId="{E61FEE58-37D0-473D-8647-06332B77CF33}" type="presParOf" srcId="{CB933D01-85DF-4ACA-8F56-EF7200CABBBE}" destId="{A172F568-9BB8-44FB-8AE7-E8EB1798A33B}" srcOrd="5" destOrd="0" presId="urn:microsoft.com/office/officeart/2005/8/layout/gear1"/>
    <dgm:cxn modelId="{E379563A-48AF-48D1-9BE5-5C5556FAEDCA}" type="presParOf" srcId="{CB933D01-85DF-4ACA-8F56-EF7200CABBBE}" destId="{9CD13E73-B073-49A3-9A60-29E85AC67A83}" srcOrd="6" destOrd="0" presId="urn:microsoft.com/office/officeart/2005/8/layout/gear1"/>
    <dgm:cxn modelId="{FAFAE4CC-A6CC-4B59-AB92-A8032DF182EF}" type="presParOf" srcId="{CB933D01-85DF-4ACA-8F56-EF7200CABBBE}" destId="{55C562E0-4A6E-4D3C-8A4F-824332179991}" srcOrd="7" destOrd="0" presId="urn:microsoft.com/office/officeart/2005/8/layout/gear1"/>
    <dgm:cxn modelId="{AEA93B3E-1E25-4E02-B1BA-2997875425BA}" type="presParOf" srcId="{CB933D01-85DF-4ACA-8F56-EF7200CABBBE}" destId="{22A1428B-C13D-47FF-8857-4968563239AA}" srcOrd="8" destOrd="0" presId="urn:microsoft.com/office/officeart/2005/8/layout/gear1"/>
    <dgm:cxn modelId="{60BCA1DB-FE81-4FFA-8C3B-BE4BDC4B07D8}" type="presParOf" srcId="{CB933D01-85DF-4ACA-8F56-EF7200CABBBE}" destId="{006CFE5F-88A1-4BD8-A190-DBCCC0237109}" srcOrd="9" destOrd="0" presId="urn:microsoft.com/office/officeart/2005/8/layout/gear1"/>
    <dgm:cxn modelId="{C1DB1FAA-A67C-4658-BAA5-98A13D4C622E}" type="presParOf" srcId="{CB933D01-85DF-4ACA-8F56-EF7200CABBBE}" destId="{B59F5C7E-FFBA-458C-9D1F-620A21EA3E2E}" srcOrd="10" destOrd="0" presId="urn:microsoft.com/office/officeart/2005/8/layout/gear1"/>
    <dgm:cxn modelId="{CA757E4E-64FF-41FE-92F5-60313AB8C699}" type="presParOf" srcId="{CB933D01-85DF-4ACA-8F56-EF7200CABBBE}" destId="{A8F2358E-09C9-4E43-892A-2F3B1C14546F}" srcOrd="11" destOrd="0" presId="urn:microsoft.com/office/officeart/2005/8/layout/gear1"/>
    <dgm:cxn modelId="{28326622-225F-40F6-B457-0994EA0F277C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14FD9128-7CD0-41B5-8AD1-6EF8DE2D619F}" type="presOf" srcId="{8BEBA896-74D0-420E-A026-F4DD586D0A96}" destId="{006CFE5F-88A1-4BD8-A190-DBCCC0237109}" srcOrd="3" destOrd="0" presId="urn:microsoft.com/office/officeart/2005/8/layout/gear1"/>
    <dgm:cxn modelId="{6A884568-B7F5-4A38-9193-34B5C74A8E23}" type="presOf" srcId="{8BEBA896-74D0-420E-A026-F4DD586D0A96}" destId="{55C562E0-4A6E-4D3C-8A4F-824332179991}" srcOrd="1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5F5C776B-DCC7-40A7-8905-EBC8BCD31E78}" type="presOf" srcId="{489DE19B-1B15-4163-B4CF-BC11233135D7}" destId="{99187215-C830-4B86-9488-A24E6E9DA5AB}" srcOrd="1" destOrd="0" presId="urn:microsoft.com/office/officeart/2005/8/layout/gear1"/>
    <dgm:cxn modelId="{D2D15B4F-E516-442F-89F3-A387BB1296E2}" type="presOf" srcId="{759E22E0-453C-4E04-9D3C-05C6AC8E70F4}" destId="{6BFDCA3C-BC56-4E06-926F-7D39F4D737D6}" srcOrd="0" destOrd="0" presId="urn:microsoft.com/office/officeart/2005/8/layout/gear1"/>
    <dgm:cxn modelId="{254C0D73-DDAF-44E5-A6BF-1BD889B4C627}" type="presOf" srcId="{489DE19B-1B15-4163-B4CF-BC11233135D7}" destId="{ECCCAB0C-C798-4576-9792-35AE8CDE727A}" srcOrd="2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55821B8C-8DDD-49B8-989A-D68338208DCF}" type="presOf" srcId="{8BEBA896-74D0-420E-A026-F4DD586D0A96}" destId="{9CD13E73-B073-49A3-9A60-29E85AC67A83}" srcOrd="0" destOrd="0" presId="urn:microsoft.com/office/officeart/2005/8/layout/gear1"/>
    <dgm:cxn modelId="{9758019A-EEA3-4D01-B926-02E45D163E7F}" type="presOf" srcId="{759E22E0-453C-4E04-9D3C-05C6AC8E70F4}" destId="{A172F568-9BB8-44FB-8AE7-E8EB1798A33B}" srcOrd="2" destOrd="0" presId="urn:microsoft.com/office/officeart/2005/8/layout/gear1"/>
    <dgm:cxn modelId="{0F23A3A6-A7D0-4BE9-A1CE-DCE2A4640B52}" type="presOf" srcId="{A8E245A5-E197-48CB-A714-13020267C68D}" destId="{A8F2358E-09C9-4E43-892A-2F3B1C14546F}" srcOrd="0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B89778C7-6F2A-4A64-B3E9-7B1B3D24F7C6}" type="presOf" srcId="{A980E77F-9FD7-4E82-ADA6-DAB8B55A4F33}" destId="{3A7134FE-714D-411B-BD61-5003ADC99F2C}" srcOrd="0" destOrd="0" presId="urn:microsoft.com/office/officeart/2005/8/layout/gear1"/>
    <dgm:cxn modelId="{6E6772D5-B534-479D-B131-51A813E26C3A}" type="presOf" srcId="{8BEBA896-74D0-420E-A026-F4DD586D0A96}" destId="{22A1428B-C13D-47FF-8857-4968563239AA}" srcOrd="2" destOrd="0" presId="urn:microsoft.com/office/officeart/2005/8/layout/gear1"/>
    <dgm:cxn modelId="{2EC4A2D5-DD76-42D1-86CE-BBD1D3743377}" type="presOf" srcId="{3E4F87F3-B7E9-46B0-8AF5-0A00D08C2F9A}" destId="{CB933D01-85DF-4ACA-8F56-EF7200CABBBE}" srcOrd="0" destOrd="0" presId="urn:microsoft.com/office/officeart/2005/8/layout/gear1"/>
    <dgm:cxn modelId="{DBA40ED6-5045-4971-A68C-13AB1C990A63}" type="presOf" srcId="{759E22E0-453C-4E04-9D3C-05C6AC8E70F4}" destId="{35E117F0-359D-4432-86CF-085E6F7B3BC1}" srcOrd="1" destOrd="0" presId="urn:microsoft.com/office/officeart/2005/8/layout/gear1"/>
    <dgm:cxn modelId="{8C9577DF-F8F1-4345-9061-AE07F849B7E6}" type="presOf" srcId="{346A2996-A973-4AA0-86EB-35011D6F1208}" destId="{B59F5C7E-FFBA-458C-9D1F-620A21EA3E2E}" srcOrd="0" destOrd="0" presId="urn:microsoft.com/office/officeart/2005/8/layout/gear1"/>
    <dgm:cxn modelId="{A7AFF4F8-567C-481C-88BA-402E8C9498E9}" type="presOf" srcId="{489DE19B-1B15-4163-B4CF-BC11233135D7}" destId="{562ECC08-8706-4619-A5CA-CE66868C8189}" srcOrd="0" destOrd="0" presId="urn:microsoft.com/office/officeart/2005/8/layout/gear1"/>
    <dgm:cxn modelId="{D7DDAD70-6109-4B37-83E5-5841AE2771EF}" type="presParOf" srcId="{CB933D01-85DF-4ACA-8F56-EF7200CABBBE}" destId="{562ECC08-8706-4619-A5CA-CE66868C8189}" srcOrd="0" destOrd="0" presId="urn:microsoft.com/office/officeart/2005/8/layout/gear1"/>
    <dgm:cxn modelId="{61E7F595-596D-464D-80BC-3E2ABB83F995}" type="presParOf" srcId="{CB933D01-85DF-4ACA-8F56-EF7200CABBBE}" destId="{99187215-C830-4B86-9488-A24E6E9DA5AB}" srcOrd="1" destOrd="0" presId="urn:microsoft.com/office/officeart/2005/8/layout/gear1"/>
    <dgm:cxn modelId="{6D9DF655-2B4F-463A-99EA-D7BA65FA7A26}" type="presParOf" srcId="{CB933D01-85DF-4ACA-8F56-EF7200CABBBE}" destId="{ECCCAB0C-C798-4576-9792-35AE8CDE727A}" srcOrd="2" destOrd="0" presId="urn:microsoft.com/office/officeart/2005/8/layout/gear1"/>
    <dgm:cxn modelId="{F059B5B6-C58E-430D-9404-96D29E294A6F}" type="presParOf" srcId="{CB933D01-85DF-4ACA-8F56-EF7200CABBBE}" destId="{6BFDCA3C-BC56-4E06-926F-7D39F4D737D6}" srcOrd="3" destOrd="0" presId="urn:microsoft.com/office/officeart/2005/8/layout/gear1"/>
    <dgm:cxn modelId="{3A5B6BCB-14A0-4FCD-885D-5BDA7CB40AF7}" type="presParOf" srcId="{CB933D01-85DF-4ACA-8F56-EF7200CABBBE}" destId="{35E117F0-359D-4432-86CF-085E6F7B3BC1}" srcOrd="4" destOrd="0" presId="urn:microsoft.com/office/officeart/2005/8/layout/gear1"/>
    <dgm:cxn modelId="{5E00B024-F20A-46F9-9415-C2F17D849C88}" type="presParOf" srcId="{CB933D01-85DF-4ACA-8F56-EF7200CABBBE}" destId="{A172F568-9BB8-44FB-8AE7-E8EB1798A33B}" srcOrd="5" destOrd="0" presId="urn:microsoft.com/office/officeart/2005/8/layout/gear1"/>
    <dgm:cxn modelId="{2E72347A-5AA8-4530-9687-7119D36024B2}" type="presParOf" srcId="{CB933D01-85DF-4ACA-8F56-EF7200CABBBE}" destId="{9CD13E73-B073-49A3-9A60-29E85AC67A83}" srcOrd="6" destOrd="0" presId="urn:microsoft.com/office/officeart/2005/8/layout/gear1"/>
    <dgm:cxn modelId="{8648548A-393D-41E1-9F05-2AC4440C577C}" type="presParOf" srcId="{CB933D01-85DF-4ACA-8F56-EF7200CABBBE}" destId="{55C562E0-4A6E-4D3C-8A4F-824332179991}" srcOrd="7" destOrd="0" presId="urn:microsoft.com/office/officeart/2005/8/layout/gear1"/>
    <dgm:cxn modelId="{9F393AC7-2184-4595-8EF2-80433479DE25}" type="presParOf" srcId="{CB933D01-85DF-4ACA-8F56-EF7200CABBBE}" destId="{22A1428B-C13D-47FF-8857-4968563239AA}" srcOrd="8" destOrd="0" presId="urn:microsoft.com/office/officeart/2005/8/layout/gear1"/>
    <dgm:cxn modelId="{3FA18383-6012-43B8-A59C-22D42341B16A}" type="presParOf" srcId="{CB933D01-85DF-4ACA-8F56-EF7200CABBBE}" destId="{006CFE5F-88A1-4BD8-A190-DBCCC0237109}" srcOrd="9" destOrd="0" presId="urn:microsoft.com/office/officeart/2005/8/layout/gear1"/>
    <dgm:cxn modelId="{79529E5D-7602-4037-82B1-56E064BCA795}" type="presParOf" srcId="{CB933D01-85DF-4ACA-8F56-EF7200CABBBE}" destId="{B59F5C7E-FFBA-458C-9D1F-620A21EA3E2E}" srcOrd="10" destOrd="0" presId="urn:microsoft.com/office/officeart/2005/8/layout/gear1"/>
    <dgm:cxn modelId="{BA31DF39-E32C-4DBA-A00A-E805E41A4321}" type="presParOf" srcId="{CB933D01-85DF-4ACA-8F56-EF7200CABBBE}" destId="{A8F2358E-09C9-4E43-892A-2F3B1C14546F}" srcOrd="11" destOrd="0" presId="urn:microsoft.com/office/officeart/2005/8/layout/gear1"/>
    <dgm:cxn modelId="{55D834D8-35C3-4ECC-9D23-D39287D06E6C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E4F87F3-B7E9-46B0-8AF5-0A00D08C2F9A}" type="doc">
      <dgm:prSet loTypeId="urn:microsoft.com/office/officeart/2005/8/layout/gear1" loCatId="relationship" qsTypeId="urn:microsoft.com/office/officeart/2005/8/quickstyle/simple1" qsCatId="simple" csTypeId="urn:microsoft.com/office/officeart/2005/8/colors/accent0_3" csCatId="mainScheme" phldr="1"/>
      <dgm:spPr/>
    </dgm:pt>
    <dgm:pt modelId="{489DE19B-1B15-4163-B4CF-BC11233135D7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29CF6D7C-8F44-416D-94A6-390646FC5EDB}" type="parTrans" cxnId="{CFE1FDBC-F0F7-4E87-9D74-363B4D6F6F4C}">
      <dgm:prSet/>
      <dgm:spPr/>
      <dgm:t>
        <a:bodyPr/>
        <a:lstStyle/>
        <a:p>
          <a:endParaRPr lang="en-US"/>
        </a:p>
      </dgm:t>
    </dgm:pt>
    <dgm:pt modelId="{346A2996-A973-4AA0-86EB-35011D6F1208}" type="sibTrans" cxnId="{CFE1FDBC-F0F7-4E87-9D74-363B4D6F6F4C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759E22E0-453C-4E04-9D3C-05C6AC8E70F4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F883BDDD-D00E-4B84-814C-BBA6E4DF81A4}" type="parTrans" cxnId="{9F2F7769-CD69-416E-B967-E6E75E9EF750}">
      <dgm:prSet/>
      <dgm:spPr/>
      <dgm:t>
        <a:bodyPr/>
        <a:lstStyle/>
        <a:p>
          <a:endParaRPr lang="en-US"/>
        </a:p>
      </dgm:t>
    </dgm:pt>
    <dgm:pt modelId="{A8E245A5-E197-48CB-A714-13020267C68D}" type="sibTrans" cxnId="{9F2F7769-CD69-416E-B967-E6E75E9EF750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8BEBA896-74D0-420E-A026-F4DD586D0A96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BE4C40A1-E21E-44BC-9882-CB4268F2E93D}" type="parTrans" cxnId="{38CCAE8A-9DDB-4E6F-AE42-F86A34280416}">
      <dgm:prSet/>
      <dgm:spPr/>
      <dgm:t>
        <a:bodyPr/>
        <a:lstStyle/>
        <a:p>
          <a:endParaRPr lang="en-US"/>
        </a:p>
      </dgm:t>
    </dgm:pt>
    <dgm:pt modelId="{A980E77F-9FD7-4E82-ADA6-DAB8B55A4F33}" type="sibTrans" cxnId="{38CCAE8A-9DDB-4E6F-AE42-F86A34280416}">
      <dgm:prSet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CB933D01-85DF-4ACA-8F56-EF7200CABBBE}" type="pres">
      <dgm:prSet presAssocID="{3E4F87F3-B7E9-46B0-8AF5-0A00D08C2F9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62ECC08-8706-4619-A5CA-CE66868C8189}" type="pres">
      <dgm:prSet presAssocID="{489DE19B-1B15-4163-B4CF-BC11233135D7}" presName="gear1" presStyleLbl="node1" presStyleIdx="0" presStyleCnt="3">
        <dgm:presLayoutVars>
          <dgm:chMax val="1"/>
          <dgm:bulletEnabled val="1"/>
        </dgm:presLayoutVars>
      </dgm:prSet>
      <dgm:spPr/>
    </dgm:pt>
    <dgm:pt modelId="{99187215-C830-4B86-9488-A24E6E9DA5AB}" type="pres">
      <dgm:prSet presAssocID="{489DE19B-1B15-4163-B4CF-BC11233135D7}" presName="gear1srcNode" presStyleLbl="node1" presStyleIdx="0" presStyleCnt="3"/>
      <dgm:spPr/>
    </dgm:pt>
    <dgm:pt modelId="{ECCCAB0C-C798-4576-9792-35AE8CDE727A}" type="pres">
      <dgm:prSet presAssocID="{489DE19B-1B15-4163-B4CF-BC11233135D7}" presName="gear1dstNode" presStyleLbl="node1" presStyleIdx="0" presStyleCnt="3"/>
      <dgm:spPr/>
    </dgm:pt>
    <dgm:pt modelId="{6BFDCA3C-BC56-4E06-926F-7D39F4D737D6}" type="pres">
      <dgm:prSet presAssocID="{759E22E0-453C-4E04-9D3C-05C6AC8E70F4}" presName="gear2" presStyleLbl="node1" presStyleIdx="1" presStyleCnt="3">
        <dgm:presLayoutVars>
          <dgm:chMax val="1"/>
          <dgm:bulletEnabled val="1"/>
        </dgm:presLayoutVars>
      </dgm:prSet>
      <dgm:spPr/>
    </dgm:pt>
    <dgm:pt modelId="{35E117F0-359D-4432-86CF-085E6F7B3BC1}" type="pres">
      <dgm:prSet presAssocID="{759E22E0-453C-4E04-9D3C-05C6AC8E70F4}" presName="gear2srcNode" presStyleLbl="node1" presStyleIdx="1" presStyleCnt="3"/>
      <dgm:spPr/>
    </dgm:pt>
    <dgm:pt modelId="{A172F568-9BB8-44FB-8AE7-E8EB1798A33B}" type="pres">
      <dgm:prSet presAssocID="{759E22E0-453C-4E04-9D3C-05C6AC8E70F4}" presName="gear2dstNode" presStyleLbl="node1" presStyleIdx="1" presStyleCnt="3"/>
      <dgm:spPr/>
    </dgm:pt>
    <dgm:pt modelId="{9CD13E73-B073-49A3-9A60-29E85AC67A83}" type="pres">
      <dgm:prSet presAssocID="{8BEBA896-74D0-420E-A026-F4DD586D0A96}" presName="gear3" presStyleLbl="node1" presStyleIdx="2" presStyleCnt="3"/>
      <dgm:spPr/>
    </dgm:pt>
    <dgm:pt modelId="{55C562E0-4A6E-4D3C-8A4F-824332179991}" type="pres">
      <dgm:prSet presAssocID="{8BEBA896-74D0-420E-A026-F4DD586D0A9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2A1428B-C13D-47FF-8857-4968563239AA}" type="pres">
      <dgm:prSet presAssocID="{8BEBA896-74D0-420E-A026-F4DD586D0A96}" presName="gear3srcNode" presStyleLbl="node1" presStyleIdx="2" presStyleCnt="3"/>
      <dgm:spPr/>
    </dgm:pt>
    <dgm:pt modelId="{006CFE5F-88A1-4BD8-A190-DBCCC0237109}" type="pres">
      <dgm:prSet presAssocID="{8BEBA896-74D0-420E-A026-F4DD586D0A96}" presName="gear3dstNode" presStyleLbl="node1" presStyleIdx="2" presStyleCnt="3"/>
      <dgm:spPr/>
    </dgm:pt>
    <dgm:pt modelId="{B59F5C7E-FFBA-458C-9D1F-620A21EA3E2E}" type="pres">
      <dgm:prSet presAssocID="{346A2996-A973-4AA0-86EB-35011D6F1208}" presName="connector1" presStyleLbl="sibTrans2D1" presStyleIdx="0" presStyleCnt="3"/>
      <dgm:spPr/>
    </dgm:pt>
    <dgm:pt modelId="{A8F2358E-09C9-4E43-892A-2F3B1C14546F}" type="pres">
      <dgm:prSet presAssocID="{A8E245A5-E197-48CB-A714-13020267C68D}" presName="connector2" presStyleLbl="sibTrans2D1" presStyleIdx="1" presStyleCnt="3"/>
      <dgm:spPr/>
    </dgm:pt>
    <dgm:pt modelId="{3A7134FE-714D-411B-BD61-5003ADC99F2C}" type="pres">
      <dgm:prSet presAssocID="{A980E77F-9FD7-4E82-ADA6-DAB8B55A4F33}" presName="connector3" presStyleLbl="sibTrans2D1" presStyleIdx="2" presStyleCnt="3"/>
      <dgm:spPr/>
    </dgm:pt>
  </dgm:ptLst>
  <dgm:cxnLst>
    <dgm:cxn modelId="{F307161F-268B-4FF8-92B6-56F6DCAEF603}" type="presOf" srcId="{8BEBA896-74D0-420E-A026-F4DD586D0A96}" destId="{006CFE5F-88A1-4BD8-A190-DBCCC0237109}" srcOrd="3" destOrd="0" presId="urn:microsoft.com/office/officeart/2005/8/layout/gear1"/>
    <dgm:cxn modelId="{9EE4A22F-B537-4FA3-8B0C-00EE37C4C7D4}" type="presOf" srcId="{489DE19B-1B15-4163-B4CF-BC11233135D7}" destId="{99187215-C830-4B86-9488-A24E6E9DA5AB}" srcOrd="1" destOrd="0" presId="urn:microsoft.com/office/officeart/2005/8/layout/gear1"/>
    <dgm:cxn modelId="{E8E9CF30-7DD0-479F-ACA5-F2D78FC3CC08}" type="presOf" srcId="{346A2996-A973-4AA0-86EB-35011D6F1208}" destId="{B59F5C7E-FFBA-458C-9D1F-620A21EA3E2E}" srcOrd="0" destOrd="0" presId="urn:microsoft.com/office/officeart/2005/8/layout/gear1"/>
    <dgm:cxn modelId="{6063B133-02AB-49E6-B0DC-99A83B841B21}" type="presOf" srcId="{A980E77F-9FD7-4E82-ADA6-DAB8B55A4F33}" destId="{3A7134FE-714D-411B-BD61-5003ADC99F2C}" srcOrd="0" destOrd="0" presId="urn:microsoft.com/office/officeart/2005/8/layout/gear1"/>
    <dgm:cxn modelId="{C729D638-2C9D-49DF-9DAC-60E155BE1014}" type="presOf" srcId="{489DE19B-1B15-4163-B4CF-BC11233135D7}" destId="{ECCCAB0C-C798-4576-9792-35AE8CDE727A}" srcOrd="2" destOrd="0" presId="urn:microsoft.com/office/officeart/2005/8/layout/gear1"/>
    <dgm:cxn modelId="{F941CC63-5E16-4AF5-9BD0-9D97384B544B}" type="presOf" srcId="{8BEBA896-74D0-420E-A026-F4DD586D0A96}" destId="{22A1428B-C13D-47FF-8857-4968563239AA}" srcOrd="2" destOrd="0" presId="urn:microsoft.com/office/officeart/2005/8/layout/gear1"/>
    <dgm:cxn modelId="{9F2F7769-CD69-416E-B967-E6E75E9EF750}" srcId="{3E4F87F3-B7E9-46B0-8AF5-0A00D08C2F9A}" destId="{759E22E0-453C-4E04-9D3C-05C6AC8E70F4}" srcOrd="1" destOrd="0" parTransId="{F883BDDD-D00E-4B84-814C-BBA6E4DF81A4}" sibTransId="{A8E245A5-E197-48CB-A714-13020267C68D}"/>
    <dgm:cxn modelId="{8F1B1A71-CF79-493A-A30C-48B7EC5A76C0}" type="presOf" srcId="{759E22E0-453C-4E04-9D3C-05C6AC8E70F4}" destId="{6BFDCA3C-BC56-4E06-926F-7D39F4D737D6}" srcOrd="0" destOrd="0" presId="urn:microsoft.com/office/officeart/2005/8/layout/gear1"/>
    <dgm:cxn modelId="{BEFA2D51-7933-4167-B41C-20D1D71A0ABF}" type="presOf" srcId="{A8E245A5-E197-48CB-A714-13020267C68D}" destId="{A8F2358E-09C9-4E43-892A-2F3B1C14546F}" srcOrd="0" destOrd="0" presId="urn:microsoft.com/office/officeart/2005/8/layout/gear1"/>
    <dgm:cxn modelId="{744DA059-F69D-46D4-BB75-598CB43CB9D9}" type="presOf" srcId="{8BEBA896-74D0-420E-A026-F4DD586D0A96}" destId="{55C562E0-4A6E-4D3C-8A4F-824332179991}" srcOrd="1" destOrd="0" presId="urn:microsoft.com/office/officeart/2005/8/layout/gear1"/>
    <dgm:cxn modelId="{38CCAE8A-9DDB-4E6F-AE42-F86A34280416}" srcId="{3E4F87F3-B7E9-46B0-8AF5-0A00D08C2F9A}" destId="{8BEBA896-74D0-420E-A026-F4DD586D0A96}" srcOrd="2" destOrd="0" parTransId="{BE4C40A1-E21E-44BC-9882-CB4268F2E93D}" sibTransId="{A980E77F-9FD7-4E82-ADA6-DAB8B55A4F33}"/>
    <dgm:cxn modelId="{1E118AA6-D4B9-461C-B65F-D6F8D38F7085}" type="presOf" srcId="{3E4F87F3-B7E9-46B0-8AF5-0A00D08C2F9A}" destId="{CB933D01-85DF-4ACA-8F56-EF7200CABBBE}" srcOrd="0" destOrd="0" presId="urn:microsoft.com/office/officeart/2005/8/layout/gear1"/>
    <dgm:cxn modelId="{79E4F9B7-0934-4743-9FDD-098A8B7B91E4}" type="presOf" srcId="{759E22E0-453C-4E04-9D3C-05C6AC8E70F4}" destId="{A172F568-9BB8-44FB-8AE7-E8EB1798A33B}" srcOrd="2" destOrd="0" presId="urn:microsoft.com/office/officeart/2005/8/layout/gear1"/>
    <dgm:cxn modelId="{CFE1FDBC-F0F7-4E87-9D74-363B4D6F6F4C}" srcId="{3E4F87F3-B7E9-46B0-8AF5-0A00D08C2F9A}" destId="{489DE19B-1B15-4163-B4CF-BC11233135D7}" srcOrd="0" destOrd="0" parTransId="{29CF6D7C-8F44-416D-94A6-390646FC5EDB}" sibTransId="{346A2996-A973-4AA0-86EB-35011D6F1208}"/>
    <dgm:cxn modelId="{35042EBD-4623-46AA-A588-67D38CE9B921}" type="presOf" srcId="{8BEBA896-74D0-420E-A026-F4DD586D0A96}" destId="{9CD13E73-B073-49A3-9A60-29E85AC67A83}" srcOrd="0" destOrd="0" presId="urn:microsoft.com/office/officeart/2005/8/layout/gear1"/>
    <dgm:cxn modelId="{8A6A35D1-279E-4463-8123-76362E040C5D}" type="presOf" srcId="{489DE19B-1B15-4163-B4CF-BC11233135D7}" destId="{562ECC08-8706-4619-A5CA-CE66868C8189}" srcOrd="0" destOrd="0" presId="urn:microsoft.com/office/officeart/2005/8/layout/gear1"/>
    <dgm:cxn modelId="{BADDEDE9-9976-4461-BD0C-627B4410D8F5}" type="presOf" srcId="{759E22E0-453C-4E04-9D3C-05C6AC8E70F4}" destId="{35E117F0-359D-4432-86CF-085E6F7B3BC1}" srcOrd="1" destOrd="0" presId="urn:microsoft.com/office/officeart/2005/8/layout/gear1"/>
    <dgm:cxn modelId="{3B135CF6-4905-4B40-961A-BC78488A06CD}" type="presParOf" srcId="{CB933D01-85DF-4ACA-8F56-EF7200CABBBE}" destId="{562ECC08-8706-4619-A5CA-CE66868C8189}" srcOrd="0" destOrd="0" presId="urn:microsoft.com/office/officeart/2005/8/layout/gear1"/>
    <dgm:cxn modelId="{44F3BB08-27C4-4EA4-A46E-298D68F5B507}" type="presParOf" srcId="{CB933D01-85DF-4ACA-8F56-EF7200CABBBE}" destId="{99187215-C830-4B86-9488-A24E6E9DA5AB}" srcOrd="1" destOrd="0" presId="urn:microsoft.com/office/officeart/2005/8/layout/gear1"/>
    <dgm:cxn modelId="{BD5E00D8-7E9A-4B28-A6D0-CED807E785A7}" type="presParOf" srcId="{CB933D01-85DF-4ACA-8F56-EF7200CABBBE}" destId="{ECCCAB0C-C798-4576-9792-35AE8CDE727A}" srcOrd="2" destOrd="0" presId="urn:microsoft.com/office/officeart/2005/8/layout/gear1"/>
    <dgm:cxn modelId="{C10E057E-478B-42F7-90E9-49CD002CF7E2}" type="presParOf" srcId="{CB933D01-85DF-4ACA-8F56-EF7200CABBBE}" destId="{6BFDCA3C-BC56-4E06-926F-7D39F4D737D6}" srcOrd="3" destOrd="0" presId="urn:microsoft.com/office/officeart/2005/8/layout/gear1"/>
    <dgm:cxn modelId="{807C884C-BDD7-4C12-972B-6DC0B1418EA8}" type="presParOf" srcId="{CB933D01-85DF-4ACA-8F56-EF7200CABBBE}" destId="{35E117F0-359D-4432-86CF-085E6F7B3BC1}" srcOrd="4" destOrd="0" presId="urn:microsoft.com/office/officeart/2005/8/layout/gear1"/>
    <dgm:cxn modelId="{B4972057-551B-4ADA-937B-9E57428F4966}" type="presParOf" srcId="{CB933D01-85DF-4ACA-8F56-EF7200CABBBE}" destId="{A172F568-9BB8-44FB-8AE7-E8EB1798A33B}" srcOrd="5" destOrd="0" presId="urn:microsoft.com/office/officeart/2005/8/layout/gear1"/>
    <dgm:cxn modelId="{2C54FC44-DC62-47E6-B111-CCBB6FE1EDDC}" type="presParOf" srcId="{CB933D01-85DF-4ACA-8F56-EF7200CABBBE}" destId="{9CD13E73-B073-49A3-9A60-29E85AC67A83}" srcOrd="6" destOrd="0" presId="urn:microsoft.com/office/officeart/2005/8/layout/gear1"/>
    <dgm:cxn modelId="{DB965607-50FC-4E50-90C7-922BD419F96A}" type="presParOf" srcId="{CB933D01-85DF-4ACA-8F56-EF7200CABBBE}" destId="{55C562E0-4A6E-4D3C-8A4F-824332179991}" srcOrd="7" destOrd="0" presId="urn:microsoft.com/office/officeart/2005/8/layout/gear1"/>
    <dgm:cxn modelId="{CEF2B548-155D-494B-92A2-B98BE3C9E545}" type="presParOf" srcId="{CB933D01-85DF-4ACA-8F56-EF7200CABBBE}" destId="{22A1428B-C13D-47FF-8857-4968563239AA}" srcOrd="8" destOrd="0" presId="urn:microsoft.com/office/officeart/2005/8/layout/gear1"/>
    <dgm:cxn modelId="{3CF4E2BA-755A-4703-89B2-F30FC51E12DB}" type="presParOf" srcId="{CB933D01-85DF-4ACA-8F56-EF7200CABBBE}" destId="{006CFE5F-88A1-4BD8-A190-DBCCC0237109}" srcOrd="9" destOrd="0" presId="urn:microsoft.com/office/officeart/2005/8/layout/gear1"/>
    <dgm:cxn modelId="{4058200A-D8AA-40C4-8C88-D971C24AADD1}" type="presParOf" srcId="{CB933D01-85DF-4ACA-8F56-EF7200CABBBE}" destId="{B59F5C7E-FFBA-458C-9D1F-620A21EA3E2E}" srcOrd="10" destOrd="0" presId="urn:microsoft.com/office/officeart/2005/8/layout/gear1"/>
    <dgm:cxn modelId="{201E2875-E34D-4D53-A8A4-F0591286E2CD}" type="presParOf" srcId="{CB933D01-85DF-4ACA-8F56-EF7200CABBBE}" destId="{A8F2358E-09C9-4E43-892A-2F3B1C14546F}" srcOrd="11" destOrd="0" presId="urn:microsoft.com/office/officeart/2005/8/layout/gear1"/>
    <dgm:cxn modelId="{9935E354-D34C-485C-87C6-773ED47AE2E8}" type="presParOf" srcId="{CB933D01-85DF-4ACA-8F56-EF7200CABBBE}" destId="{3A7134FE-714D-411B-BD61-5003ADC99F2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0F87F4-DB90-4CF9-8B83-5CA8CD2EC28A}">
      <dsp:nvSpPr>
        <dsp:cNvPr id="0" name=""/>
        <dsp:cNvSpPr/>
      </dsp:nvSpPr>
      <dsp:spPr>
        <a:xfrm>
          <a:off x="127626" y="0"/>
          <a:ext cx="1950440" cy="1934056"/>
        </a:xfrm>
        <a:prstGeom prst="diamond">
          <a:avLst/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CD793F-DE9B-4B93-B3BB-C1AC26DFB103}">
      <dsp:nvSpPr>
        <dsp:cNvPr id="0" name=""/>
        <dsp:cNvSpPr/>
      </dsp:nvSpPr>
      <dsp:spPr>
        <a:xfrm>
          <a:off x="436029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473162" y="222424"/>
        <a:ext cx="686405" cy="686405"/>
      </dsp:txXfrm>
    </dsp:sp>
    <dsp:sp modelId="{ECE9E689-53FD-4E1E-A627-9042C9A7C2EE}">
      <dsp:nvSpPr>
        <dsp:cNvPr id="0" name=""/>
        <dsp:cNvSpPr/>
      </dsp:nvSpPr>
      <dsp:spPr>
        <a:xfrm>
          <a:off x="1255214" y="185291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1292347" y="222424"/>
        <a:ext cx="686405" cy="686405"/>
      </dsp:txXfrm>
    </dsp:sp>
    <dsp:sp modelId="{2DBF9C54-3BEB-4328-A161-1996D4EA0F33}">
      <dsp:nvSpPr>
        <dsp:cNvPr id="0" name=""/>
        <dsp:cNvSpPr/>
      </dsp:nvSpPr>
      <dsp:spPr>
        <a:xfrm>
          <a:off x="436029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473162" y="1041609"/>
        <a:ext cx="686405" cy="686405"/>
      </dsp:txXfrm>
    </dsp:sp>
    <dsp:sp modelId="{63CE64BC-74C8-4ABD-8725-51A374909FB8}">
      <dsp:nvSpPr>
        <dsp:cNvPr id="0" name=""/>
        <dsp:cNvSpPr/>
      </dsp:nvSpPr>
      <dsp:spPr>
        <a:xfrm>
          <a:off x="1255214" y="1004476"/>
          <a:ext cx="760671" cy="760671"/>
        </a:xfrm>
        <a:prstGeom prst="round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dul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ponent { }</a:t>
          </a:r>
        </a:p>
      </dsp:txBody>
      <dsp:txXfrm>
        <a:off x="1292347" y="1041609"/>
        <a:ext cx="686405" cy="68640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/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206292" y="177551"/>
          <a:ext cx="181478" cy="181478"/>
        </a:xfrm>
        <a:prstGeom prst="gear9">
          <a:avLst/>
        </a:prstGeom>
        <a:solidFill>
          <a:schemeClr val="accent2"/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 </a:t>
          </a:r>
        </a:p>
      </dsp:txBody>
      <dsp:txXfrm>
        <a:off x="242777" y="220061"/>
        <a:ext cx="108508" cy="93284"/>
      </dsp:txXfrm>
    </dsp:sp>
    <dsp:sp modelId="{6BFDCA3C-BC56-4E06-926F-7D39F4D737D6}">
      <dsp:nvSpPr>
        <dsp:cNvPr id="0" name=""/>
        <dsp:cNvSpPr/>
      </dsp:nvSpPr>
      <dsp:spPr>
        <a:xfrm>
          <a:off x="100704" y="134656"/>
          <a:ext cx="131984" cy="131984"/>
        </a:xfrm>
        <a:prstGeom prst="gear6">
          <a:avLst/>
        </a:prstGeom>
        <a:solidFill>
          <a:schemeClr val="accent2"/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 </a:t>
          </a:r>
        </a:p>
      </dsp:txBody>
      <dsp:txXfrm>
        <a:off x="133931" y="168084"/>
        <a:ext cx="65530" cy="65128"/>
      </dsp:txXfrm>
    </dsp:sp>
    <dsp:sp modelId="{9CD13E73-B073-49A3-9A60-29E85AC67A83}">
      <dsp:nvSpPr>
        <dsp:cNvPr id="0" name=""/>
        <dsp:cNvSpPr/>
      </dsp:nvSpPr>
      <dsp:spPr>
        <a:xfrm rot="20700000">
          <a:off x="174629" y="43600"/>
          <a:ext cx="129318" cy="129318"/>
        </a:xfrm>
        <a:prstGeom prst="gear6">
          <a:avLst/>
        </a:prstGeom>
        <a:solidFill>
          <a:schemeClr val="accent2"/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 </a:t>
          </a:r>
        </a:p>
      </dsp:txBody>
      <dsp:txXfrm rot="-20700000">
        <a:off x="202992" y="71963"/>
        <a:ext cx="72591" cy="72591"/>
      </dsp:txXfrm>
    </dsp:sp>
    <dsp:sp modelId="{B59F5C7E-FFBA-458C-9D1F-620A21EA3E2E}">
      <dsp:nvSpPr>
        <dsp:cNvPr id="0" name=""/>
        <dsp:cNvSpPr/>
      </dsp:nvSpPr>
      <dsp:spPr>
        <a:xfrm>
          <a:off x="171985" y="157334"/>
          <a:ext cx="232293" cy="232293"/>
        </a:xfrm>
        <a:prstGeom prst="circularArrow">
          <a:avLst>
            <a:gd name="adj1" fmla="val 4688"/>
            <a:gd name="adj2" fmla="val 299029"/>
            <a:gd name="adj3" fmla="val 2186849"/>
            <a:gd name="adj4" fmla="val 17441018"/>
            <a:gd name="adj5" fmla="val 5469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7330" y="118840"/>
          <a:ext cx="168775" cy="1687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44716" y="28662"/>
          <a:ext cx="181973" cy="181973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 </a:t>
          </a:r>
        </a:p>
      </dsp:txBody>
      <dsp:txXfrm rot="-20700000">
        <a:off x="301233" y="95104"/>
        <a:ext cx="130492" cy="1304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dk1"/>
          </a:solidFill>
          <a:prstDash val="solid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ECC08-8706-4619-A5CA-CE66868C8189}">
      <dsp:nvSpPr>
        <dsp:cNvPr id="0" name=""/>
        <dsp:cNvSpPr/>
      </dsp:nvSpPr>
      <dsp:spPr>
        <a:xfrm>
          <a:off x="307165" y="284911"/>
          <a:ext cx="326230" cy="326230"/>
        </a:xfrm>
        <a:prstGeom prst="gear9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372752" y="361329"/>
        <a:ext cx="195056" cy="167689"/>
      </dsp:txXfrm>
    </dsp:sp>
    <dsp:sp modelId="{6BFDCA3C-BC56-4E06-926F-7D39F4D737D6}">
      <dsp:nvSpPr>
        <dsp:cNvPr id="0" name=""/>
        <dsp:cNvSpPr/>
      </dsp:nvSpPr>
      <dsp:spPr>
        <a:xfrm>
          <a:off x="117358" y="207801"/>
          <a:ext cx="237258" cy="237258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177088" y="267892"/>
        <a:ext cx="117798" cy="117076"/>
      </dsp:txXfrm>
    </dsp:sp>
    <dsp:sp modelId="{9CD13E73-B073-49A3-9A60-29E85AC67A83}">
      <dsp:nvSpPr>
        <dsp:cNvPr id="0" name=""/>
        <dsp:cNvSpPr/>
      </dsp:nvSpPr>
      <dsp:spPr>
        <a:xfrm rot="20700000">
          <a:off x="250247" y="44117"/>
          <a:ext cx="232464" cy="232464"/>
        </a:xfrm>
        <a:prstGeom prst="gear6">
          <a:avLst/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 rot="-20700000">
        <a:off x="334085" y="128154"/>
        <a:ext cx="64788" cy="64392"/>
      </dsp:txXfrm>
    </dsp:sp>
    <dsp:sp modelId="{B59F5C7E-FFBA-458C-9D1F-620A21EA3E2E}">
      <dsp:nvSpPr>
        <dsp:cNvPr id="0" name=""/>
        <dsp:cNvSpPr/>
      </dsp:nvSpPr>
      <dsp:spPr>
        <a:xfrm>
          <a:off x="256261" y="247425"/>
          <a:ext cx="417574" cy="417574"/>
        </a:xfrm>
        <a:prstGeom prst="circularArrow">
          <a:avLst>
            <a:gd name="adj1" fmla="val 4688"/>
            <a:gd name="adj2" fmla="val 299029"/>
            <a:gd name="adj3" fmla="val 2214909"/>
            <a:gd name="adj4" fmla="val 16863653"/>
            <a:gd name="adj5" fmla="val 5469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A8F2358E-09C9-4E43-892A-2F3B1C14546F}">
      <dsp:nvSpPr>
        <dsp:cNvPr id="0" name=""/>
        <dsp:cNvSpPr/>
      </dsp:nvSpPr>
      <dsp:spPr>
        <a:xfrm>
          <a:off x="75340" y="169621"/>
          <a:ext cx="303394" cy="30339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  <dsp:sp modelId="{3A7134FE-714D-411B-BD61-5003ADC99F2C}">
      <dsp:nvSpPr>
        <dsp:cNvPr id="0" name=""/>
        <dsp:cNvSpPr/>
      </dsp:nvSpPr>
      <dsp:spPr>
        <a:xfrm>
          <a:off x="196475" y="7515"/>
          <a:ext cx="327120" cy="32712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ED7D31">
            <a:lumMod val="60000"/>
            <a:lumOff val="40000"/>
          </a:srgbClr>
        </a:solidFill>
        <a:ln w="6350" cap="flat" cmpd="sng" algn="ctr">
          <a:solidFill>
            <a:sysClr val="windowText" lastClr="000000"/>
          </a:solidFill>
          <a:prstDash val="solid"/>
          <a:miter lim="800000"/>
        </a:ln>
        <a:effectLst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A048F3-4370-45A1-920C-D010801DF48A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E5752-14E3-4B3B-B9AE-13E0613879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403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0606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9271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328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146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0054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1939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7760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1257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632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757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iginally developed by </a:t>
            </a:r>
            <a:r>
              <a:rPr lang="en-US" dirty="0" err="1"/>
              <a:t>Misko</a:t>
            </a:r>
            <a:r>
              <a:rPr lang="en-US" dirty="0"/>
              <a:t> </a:t>
            </a:r>
            <a:r>
              <a:rPr lang="en-US" baseline="0" dirty="0"/>
              <a:t> </a:t>
            </a:r>
            <a:r>
              <a:rPr lang="en-US" baseline="0" dirty="0" err="1"/>
              <a:t>Hevery</a:t>
            </a:r>
            <a:r>
              <a:rPr lang="en-US" baseline="0" dirty="0"/>
              <a:t> and Adam </a:t>
            </a:r>
            <a:r>
              <a:rPr lang="en-US" baseline="0" dirty="0" err="1"/>
              <a:t>Avrons</a:t>
            </a:r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770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262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552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1486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518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3901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E5752-14E3-4B3B-B9AE-13E06138793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546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284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017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327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0305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790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0071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7536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1775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230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10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178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674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157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34422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77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57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52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83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297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0445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964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BA3F2-8128-4609-A723-B6F7B88CC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B61637-1EAE-420A-AEB3-E681580DC0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6841B-F510-4F50-92C5-3A6247288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70E7B-3417-4594-8FE9-1751D9CBE684}" type="datetimeFigureOut">
              <a:rPr lang="en-US" smtClean="0"/>
              <a:t>5/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3211C-86DC-4BD5-8897-5EA659BC5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FFF31-C92E-4599-A985-EE54B861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BBDE3-E8A4-41FD-B1D4-087D9958E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351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33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42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common/NgForOf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angular.io/api/forms/NgModel" TargetMode="External"/><Relationship Id="rId4" Type="http://schemas.openxmlformats.org/officeDocument/2006/relationships/hyperlink" Target="https://angular.io/api/common/NgI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18" Type="http://schemas.openxmlformats.org/officeDocument/2006/relationships/diagramData" Target="../diagrams/data9.xml"/><Relationship Id="rId26" Type="http://schemas.openxmlformats.org/officeDocument/2006/relationships/diagramColors" Target="../diagrams/colors10.xml"/><Relationship Id="rId3" Type="http://schemas.openxmlformats.org/officeDocument/2006/relationships/diagramData" Target="../diagrams/data6.xml"/><Relationship Id="rId21" Type="http://schemas.openxmlformats.org/officeDocument/2006/relationships/diagramColors" Target="../diagrams/colors9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5" Type="http://schemas.openxmlformats.org/officeDocument/2006/relationships/diagramQuickStyle" Target="../diagrams/quickStyle10.xml"/><Relationship Id="rId2" Type="http://schemas.openxmlformats.org/officeDocument/2006/relationships/notesSlide" Target="../notesSlides/notesSlide11.xml"/><Relationship Id="rId16" Type="http://schemas.openxmlformats.org/officeDocument/2006/relationships/diagramColors" Target="../diagrams/colors8.xml"/><Relationship Id="rId20" Type="http://schemas.openxmlformats.org/officeDocument/2006/relationships/diagramQuickStyle" Target="../diagrams/quickStyle9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24" Type="http://schemas.openxmlformats.org/officeDocument/2006/relationships/diagramLayout" Target="../diagrams/layout10.xml"/><Relationship Id="rId5" Type="http://schemas.openxmlformats.org/officeDocument/2006/relationships/diagramQuickStyle" Target="../diagrams/quickStyle6.xml"/><Relationship Id="rId15" Type="http://schemas.openxmlformats.org/officeDocument/2006/relationships/diagramQuickStyle" Target="../diagrams/quickStyle8.xml"/><Relationship Id="rId23" Type="http://schemas.openxmlformats.org/officeDocument/2006/relationships/diagramData" Target="../diagrams/data10.xml"/><Relationship Id="rId10" Type="http://schemas.openxmlformats.org/officeDocument/2006/relationships/diagramQuickStyle" Target="../diagrams/quickStyle7.xml"/><Relationship Id="rId19" Type="http://schemas.openxmlformats.org/officeDocument/2006/relationships/diagramLayout" Target="../diagrams/layout9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Relationship Id="rId22" Type="http://schemas.microsoft.com/office/2007/relationships/diagramDrawing" Target="../diagrams/drawing9.xml"/><Relationship Id="rId27" Type="http://schemas.microsoft.com/office/2007/relationships/diagramDrawing" Target="../diagrams/drawing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enti.com/" TargetMode="Externa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luralsight.com/paths/angular" TargetMode="External"/><Relationship Id="rId2" Type="http://schemas.openxmlformats.org/officeDocument/2006/relationships/hyperlink" Target="https://angular.io/docs" TargetMode="Externa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www.edureka.co/blog/angular-tutorial/" TargetMode="External"/><Relationship Id="rId4" Type="http://schemas.openxmlformats.org/officeDocument/2006/relationships/hyperlink" Target="https://www.youtube.com/watch?v=KhzGSHNhnbI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deshare.net/EyalV/angular-1x-vs-angular-2x?qid=cb42d4d8-fb09-4ed2-988c-625a77df0da9&amp;v=&amp;b=&amp;from_search=1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lideshare.net/SanderMak/typescript-coding-javascript-without-the-pain?qid=8e74b82f-ba6c-44ce-b3f2-d741cf3f9f52&amp;v=&amp;b=&amp;from_search=6" TargetMode="Externa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api/forms/NgModel" TargetMode="Externa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>
            <a:extLst>
              <a:ext uri="{FF2B5EF4-FFF2-40B4-BE49-F238E27FC236}">
                <a16:creationId xmlns:a16="http://schemas.microsoft.com/office/drawing/2014/main" id="{BD976C13-68E6-4E25-B13E-FC3A2D3F6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8" name="Rectangle 11">
            <a:extLst>
              <a:ext uri="{FF2B5EF4-FFF2-40B4-BE49-F238E27FC236}">
                <a16:creationId xmlns:a16="http://schemas.microsoft.com/office/drawing/2014/main" id="{1E24A02E-5FD2-428E-A1E4-FDF96B0B6C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08B93E-0C39-407B-943D-71F2BAFB4C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603503" y="770466"/>
            <a:ext cx="11588497" cy="4123267"/>
          </a:xfrm>
        </p:spPr>
        <p:txBody>
          <a:bodyPr vert="horz" lIns="91440" tIns="45720" rIns="91440" bIns="45720" rtlCol="0" anchor="b" anchorCtr="0">
            <a:normAutofit/>
          </a:bodyPr>
          <a:lstStyle/>
          <a:p>
            <a:pPr>
              <a:lnSpc>
                <a:spcPct val="80000"/>
              </a:lnSpc>
            </a:pPr>
            <a:r>
              <a:rPr lang="en-US" sz="8000" dirty="0">
                <a:solidFill>
                  <a:schemeClr val="accent1">
                    <a:lumMod val="75000"/>
                  </a:schemeClr>
                </a:solidFill>
              </a:rPr>
              <a:t>Node &amp; Mongo Integr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7E1896-2992-48D4-85AC-95AB8AB14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215466"/>
            <a:ext cx="12192000" cy="164253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667512" y="5537199"/>
            <a:ext cx="9228201" cy="800545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3600" cap="all">
                <a:solidFill>
                  <a:srgbClr val="FFFFFF"/>
                </a:solidFill>
                <a:latin typeface="+mj-lt"/>
              </a:rPr>
              <a:t>Job ready training</a:t>
            </a: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3165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Directives)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86375"/>
            <a:ext cx="10440797" cy="4936920"/>
          </a:xfrm>
        </p:spPr>
        <p:txBody>
          <a:bodyPr>
            <a:normAutofit lnSpcReduction="10000"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/>
              <a:t>Angular templates are </a:t>
            </a:r>
            <a:r>
              <a:rPr lang="en-US" sz="2000" i="1" dirty="0"/>
              <a:t>dynamic</a:t>
            </a:r>
            <a:r>
              <a:rPr lang="en-US" sz="2000" dirty="0"/>
              <a:t>. Angular renders templates, it transforms the DOM according to the instructions given by directives.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directive is a class with a @Directive decorator.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/>
              <a:t>A component is a </a:t>
            </a:r>
            <a:r>
              <a:rPr lang="en-US" sz="2000" i="1" dirty="0"/>
              <a:t>directive-with-a-template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Component decorator is actually a @Directive decorator extended with template-oriented features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her directive types: 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/>
              <a:t>Structural directives - Alters layout by adding, removing, and replacing elements in DOM. 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/>
              <a:t>Built in structural directives</a:t>
            </a:r>
          </a:p>
          <a:p>
            <a:pPr marL="914400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200" dirty="0">
                <a:solidFill>
                  <a:srgbClr val="000088"/>
                </a:solidFill>
                <a:latin typeface="Droid Sans Mono"/>
              </a:rPr>
              <a:t>&lt;li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*</a:t>
            </a:r>
            <a:r>
              <a:rPr lang="en-US" sz="1200" dirty="0" err="1">
                <a:solidFill>
                  <a:srgbClr val="0070C0"/>
                </a:solidFill>
                <a:latin typeface="Droid Sans Mono"/>
                <a:hlinkClick r:id="rId3"/>
              </a:rPr>
              <a:t>ngFor</a:t>
            </a:r>
            <a:r>
              <a:rPr lang="en-US" sz="1200" dirty="0">
                <a:solidFill>
                  <a:srgbClr val="666600"/>
                </a:solidFill>
                <a:latin typeface="Droid Sans Mono"/>
              </a:rPr>
              <a:t>=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let hero of heroes"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gt;&lt;/li&gt;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914400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200" dirty="0">
                <a:solidFill>
                  <a:srgbClr val="000088"/>
                </a:solidFill>
                <a:latin typeface="Droid Sans Mono"/>
              </a:rPr>
              <a:t>&lt;app-hero-detail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*</a:t>
            </a:r>
            <a:r>
              <a:rPr lang="en-US" sz="1200" dirty="0" err="1">
                <a:solidFill>
                  <a:srgbClr val="660066"/>
                </a:solidFill>
                <a:latin typeface="Droid Sans Mono"/>
                <a:hlinkClick r:id="rId4"/>
              </a:rPr>
              <a:t>ngIf</a:t>
            </a:r>
            <a:r>
              <a:rPr lang="en-US" sz="1200" dirty="0">
                <a:solidFill>
                  <a:srgbClr val="666600"/>
                </a:solidFill>
                <a:latin typeface="Droid Sans Mono"/>
              </a:rPr>
              <a:t>=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</a:t>
            </a:r>
            <a:r>
              <a:rPr lang="en-US" sz="1200" dirty="0" err="1">
                <a:solidFill>
                  <a:srgbClr val="880000"/>
                </a:solidFill>
                <a:latin typeface="Droid Sans Mono"/>
              </a:rPr>
              <a:t>selectedHero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gt;&lt;/app-hero-detail&gt;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/>
              <a:t>Attribute directives alter the appearance or behavior of an existing element. </a:t>
            </a:r>
          </a:p>
          <a:p>
            <a:pPr marL="45720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600" dirty="0">
                <a:solidFill>
                  <a:srgbClr val="000088"/>
                </a:solidFill>
                <a:latin typeface="Droid Sans Mono"/>
              </a:rPr>
              <a:t>	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lt;input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 [(</a:t>
            </a:r>
            <a:r>
              <a:rPr lang="en-US" sz="1200" dirty="0" err="1">
                <a:solidFill>
                  <a:srgbClr val="660066"/>
                </a:solidFill>
                <a:latin typeface="Droid Sans Mono"/>
                <a:hlinkClick r:id="rId5"/>
              </a:rPr>
              <a:t>ngModel</a:t>
            </a:r>
            <a:r>
              <a:rPr lang="en-US" sz="1200" dirty="0">
                <a:solidFill>
                  <a:srgbClr val="000000"/>
                </a:solidFill>
                <a:latin typeface="Droid Sans Mono"/>
              </a:rPr>
              <a:t>)]</a:t>
            </a:r>
            <a:r>
              <a:rPr lang="en-US" sz="1200" dirty="0">
                <a:solidFill>
                  <a:srgbClr val="666600"/>
                </a:solidFill>
                <a:latin typeface="Droid Sans Mono"/>
              </a:rPr>
              <a:t>=</a:t>
            </a:r>
            <a:r>
              <a:rPr lang="en-US" sz="1200" dirty="0">
                <a:solidFill>
                  <a:srgbClr val="880000"/>
                </a:solidFill>
                <a:latin typeface="Droid Sans Mono"/>
              </a:rPr>
              <a:t>"hero.name"</a:t>
            </a:r>
            <a:r>
              <a:rPr lang="en-US" sz="1200" dirty="0">
                <a:solidFill>
                  <a:srgbClr val="000088"/>
                </a:solidFill>
                <a:latin typeface="Droid Sans Mono"/>
              </a:rPr>
              <a:t>&gt;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 err="1"/>
              <a:t>ngSwitch</a:t>
            </a:r>
            <a:r>
              <a:rPr lang="en-US" sz="1600" dirty="0"/>
              <a:t>, </a:t>
            </a:r>
            <a:r>
              <a:rPr lang="en-US" sz="1600" dirty="0" err="1"/>
              <a:t>ngStyle</a:t>
            </a:r>
            <a:r>
              <a:rPr lang="en-US" sz="1600" dirty="0"/>
              <a:t>, </a:t>
            </a:r>
            <a:r>
              <a:rPr lang="en-US" sz="1600" dirty="0" err="1"/>
              <a:t>ngClass</a:t>
            </a:r>
            <a:r>
              <a:rPr lang="en-US" sz="1600" dirty="0"/>
              <a:t>  are some additional directive types.</a:t>
            </a:r>
          </a:p>
          <a:p>
            <a:pPr marL="45720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dirty="0"/>
          </a:p>
          <a:p>
            <a:pPr marL="914400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loud Callout 5"/>
          <p:cNvSpPr/>
          <p:nvPr/>
        </p:nvSpPr>
        <p:spPr>
          <a:xfrm>
            <a:off x="8964038" y="4256797"/>
            <a:ext cx="1669007" cy="782822"/>
          </a:xfrm>
          <a:prstGeom prst="cloudCallou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MetaData</a:t>
            </a:r>
            <a:endParaRPr lang="en-US" sz="1600" dirty="0"/>
          </a:p>
        </p:txBody>
      </p:sp>
      <p:grpSp>
        <p:nvGrpSpPr>
          <p:cNvPr id="8" name="Group 7"/>
          <p:cNvGrpSpPr/>
          <p:nvPr/>
        </p:nvGrpSpPr>
        <p:grpSpPr>
          <a:xfrm>
            <a:off x="9039538" y="5196767"/>
            <a:ext cx="1589713" cy="746834"/>
            <a:chOff x="436029" y="185291"/>
            <a:chExt cx="760671" cy="760671"/>
          </a:xfrm>
        </p:grpSpPr>
        <p:sp>
          <p:nvSpPr>
            <p:cNvPr id="9" name="Rounded Rectangle 8"/>
            <p:cNvSpPr/>
            <p:nvPr/>
          </p:nvSpPr>
          <p:spPr>
            <a:xfrm>
              <a:off x="436029" y="185291"/>
              <a:ext cx="760671" cy="760671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ounded Rectangle 4"/>
            <p:cNvSpPr/>
            <p:nvPr/>
          </p:nvSpPr>
          <p:spPr>
            <a:xfrm>
              <a:off x="473162" y="222424"/>
              <a:ext cx="686405" cy="68640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/>
                <a:t>Directive</a:t>
              </a:r>
            </a:p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/>
                <a:t>{ 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084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87693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Service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70265"/>
            <a:ext cx="10515600" cy="4790114"/>
          </a:xfrm>
        </p:spPr>
        <p:txBody>
          <a:bodyPr/>
          <a:lstStyle/>
          <a:p>
            <a:r>
              <a:rPr lang="en-US" sz="2000" dirty="0"/>
              <a:t>Broad Category  - Includes any value, function or feature which the Angular application needs</a:t>
            </a:r>
          </a:p>
          <a:p>
            <a:r>
              <a:rPr lang="en-US" sz="2000" dirty="0"/>
              <a:t> It is typically a class with a narrow, well-defined purpose. </a:t>
            </a:r>
          </a:p>
          <a:p>
            <a:r>
              <a:rPr lang="en-US" sz="2000" dirty="0"/>
              <a:t>Examples include:</a:t>
            </a:r>
          </a:p>
          <a:p>
            <a:pPr lvl="1"/>
            <a:r>
              <a:rPr lang="en-US" sz="1800" dirty="0"/>
              <a:t>logging service</a:t>
            </a:r>
          </a:p>
          <a:p>
            <a:pPr lvl="1"/>
            <a:r>
              <a:rPr lang="en-US" sz="1800" dirty="0"/>
              <a:t>data service</a:t>
            </a:r>
          </a:p>
          <a:p>
            <a:pPr lvl="1"/>
            <a:r>
              <a:rPr lang="en-US" sz="1800" dirty="0"/>
              <a:t>message bus</a:t>
            </a:r>
          </a:p>
          <a:p>
            <a:pPr lvl="1"/>
            <a:r>
              <a:rPr lang="en-US" sz="1800" dirty="0"/>
              <a:t>tax calculator</a:t>
            </a:r>
          </a:p>
          <a:p>
            <a:pPr lvl="1"/>
            <a:r>
              <a:rPr lang="en-US" sz="1800" dirty="0"/>
              <a:t>application configuration</a:t>
            </a:r>
          </a:p>
          <a:p>
            <a:pPr lvl="1"/>
            <a:r>
              <a:rPr lang="en-US" sz="1800" dirty="0"/>
              <a:t>Anything else</a:t>
            </a:r>
          </a:p>
          <a:p>
            <a:endParaRPr lang="en-US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0364598" y="4157799"/>
            <a:ext cx="1018564" cy="9472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  <a:p>
            <a:pPr algn="ctr"/>
            <a:r>
              <a:rPr lang="en-US" sz="1400" dirty="0"/>
              <a:t>Service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graphicFrame>
        <p:nvGraphicFramePr>
          <p:cNvPr id="8" name="Diagram 7"/>
          <p:cNvGraphicFramePr/>
          <p:nvPr/>
        </p:nvGraphicFramePr>
        <p:xfrm>
          <a:off x="10480598" y="4400455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Content Placeholder 2"/>
          <p:cNvSpPr txBox="1">
            <a:spLocks/>
          </p:cNvSpPr>
          <p:nvPr/>
        </p:nvSpPr>
        <p:spPr>
          <a:xfrm>
            <a:off x="5808677" y="3149334"/>
            <a:ext cx="3524075" cy="1567722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atin typeface="Droid Sans Mono"/>
              </a:rPr>
              <a:t>Example of Service : </a:t>
            </a:r>
            <a:r>
              <a:rPr lang="en-US" dirty="0" err="1">
                <a:latin typeface="Droid Sans Mono"/>
              </a:rPr>
              <a:t>src</a:t>
            </a:r>
            <a:r>
              <a:rPr lang="en-US" dirty="0">
                <a:latin typeface="Droid Sans Mono"/>
              </a:rPr>
              <a:t>/app/</a:t>
            </a:r>
            <a:r>
              <a:rPr lang="en-US" dirty="0" err="1">
                <a:latin typeface="Droid Sans Mono"/>
              </a:rPr>
              <a:t>logger.service.ts</a:t>
            </a:r>
            <a:endParaRPr lang="en-US" dirty="0">
              <a:latin typeface="Droid Sans Mono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FF"/>
                </a:solidFill>
                <a:latin typeface="Droid Sans Mono"/>
              </a:rPr>
              <a:t>export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0000FF"/>
                </a:solidFill>
                <a:latin typeface="Droid Sans Mono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FF0000"/>
                </a:solidFill>
                <a:latin typeface="Droid Sans Mono"/>
              </a:rPr>
              <a:t>Logger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Droid Sans Mono"/>
              </a:rPr>
              <a:t> lo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any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console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.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lo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;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Droid Sans Mono"/>
              </a:rPr>
              <a:t> error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any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console</a:t>
            </a:r>
            <a:r>
              <a:rPr lang="en-US" dirty="0" err="1">
                <a:solidFill>
                  <a:srgbClr val="666600"/>
                </a:solidFill>
                <a:latin typeface="Droid Sans Mono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error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;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Droid Sans Mono"/>
              </a:rPr>
              <a:t> warn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any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console</a:t>
            </a:r>
            <a:r>
              <a:rPr lang="en-US" dirty="0" err="1">
                <a:solidFill>
                  <a:srgbClr val="666600"/>
                </a:solidFill>
                <a:latin typeface="Droid Sans Mono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warn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Droid Sans Mono"/>
              </a:rPr>
              <a:t>msg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;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639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87693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Dependency injection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838200" y="1170264"/>
            <a:ext cx="10515600" cy="5006699"/>
          </a:xfrm>
        </p:spPr>
        <p:txBody>
          <a:bodyPr/>
          <a:lstStyle/>
          <a:p>
            <a:r>
              <a:rPr lang="en-US" dirty="0"/>
              <a:t>It’s a way to supply a new instance of a class with the fully-formed dependencies it requires.</a:t>
            </a:r>
          </a:p>
          <a:p>
            <a:r>
              <a:rPr lang="en-US" dirty="0"/>
              <a:t>Most dependencies are services</a:t>
            </a:r>
          </a:p>
          <a:p>
            <a:r>
              <a:rPr lang="en-US" dirty="0"/>
              <a:t>Angular uses dependency injection to provide new components with the services they need.</a:t>
            </a:r>
          </a:p>
          <a:p>
            <a:pPr lvl="1"/>
            <a:r>
              <a:rPr lang="en-US" dirty="0">
                <a:solidFill>
                  <a:srgbClr val="0000FF"/>
                </a:solidFill>
                <a:latin typeface="Droid Sans Mono"/>
              </a:rPr>
              <a:t>constructor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(</a:t>
            </a:r>
            <a:r>
              <a:rPr lang="en-US" dirty="0">
                <a:solidFill>
                  <a:srgbClr val="0000FF"/>
                </a:solidFill>
                <a:latin typeface="Droid Sans Mono"/>
              </a:rPr>
              <a:t>private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service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: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 err="1">
                <a:solidFill>
                  <a:srgbClr val="FF0000"/>
                </a:solidFill>
                <a:latin typeface="Droid Sans Mono"/>
              </a:rPr>
              <a:t>MyAppService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)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{</a:t>
            </a:r>
            <a:r>
              <a:rPr lang="en-US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dirty="0">
                <a:solidFill>
                  <a:srgbClr val="666600"/>
                </a:solidFill>
                <a:latin typeface="Droid Sans Mono"/>
              </a:rPr>
              <a:t>}</a:t>
            </a:r>
            <a:endParaRPr lang="en-US" dirty="0"/>
          </a:p>
        </p:txBody>
      </p:sp>
      <p:sp>
        <p:nvSpPr>
          <p:cNvPr id="56" name="Rounded Rectangle 7">
            <a:extLst>
              <a:ext uri="{FF2B5EF4-FFF2-40B4-BE49-F238E27FC236}">
                <a16:creationId xmlns:a16="http://schemas.microsoft.com/office/drawing/2014/main" id="{0267C60A-D5B5-411B-943F-CCCBD8E80BA9}"/>
              </a:ext>
            </a:extLst>
          </p:cNvPr>
          <p:cNvSpPr/>
          <p:nvPr/>
        </p:nvSpPr>
        <p:spPr>
          <a:xfrm>
            <a:off x="1130448" y="3160772"/>
            <a:ext cx="6811861" cy="1522602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ject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ounded Rectangle 8">
            <a:extLst>
              <a:ext uri="{FF2B5EF4-FFF2-40B4-BE49-F238E27FC236}">
                <a16:creationId xmlns:a16="http://schemas.microsoft.com/office/drawing/2014/main" id="{F3E530DF-865F-441F-BF1A-73E899B5BF9B}"/>
              </a:ext>
            </a:extLst>
          </p:cNvPr>
          <p:cNvSpPr/>
          <p:nvPr/>
        </p:nvSpPr>
        <p:spPr>
          <a:xfrm>
            <a:off x="1445035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8" name="Diagram 57">
            <a:extLst>
              <a:ext uri="{FF2B5EF4-FFF2-40B4-BE49-F238E27FC236}">
                <a16:creationId xmlns:a16="http://schemas.microsoft.com/office/drawing/2014/main" id="{DB6F74BE-D1AF-47AA-81F3-34667BD8C0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3390846"/>
              </p:ext>
            </p:extLst>
          </p:nvPr>
        </p:nvGraphicFramePr>
        <p:xfrm>
          <a:off x="1561035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9" name="Rounded Rectangle 10">
            <a:extLst>
              <a:ext uri="{FF2B5EF4-FFF2-40B4-BE49-F238E27FC236}">
                <a16:creationId xmlns:a16="http://schemas.microsoft.com/office/drawing/2014/main" id="{0AE01C66-8E97-4D8A-A041-360A20D826B1}"/>
              </a:ext>
            </a:extLst>
          </p:cNvPr>
          <p:cNvSpPr/>
          <p:nvPr/>
        </p:nvSpPr>
        <p:spPr>
          <a:xfrm>
            <a:off x="2778186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B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0" name="Diagram 59">
            <a:extLst>
              <a:ext uri="{FF2B5EF4-FFF2-40B4-BE49-F238E27FC236}">
                <a16:creationId xmlns:a16="http://schemas.microsoft.com/office/drawing/2014/main" id="{BD4BEABB-4AB5-4A73-AC1D-7BEF8EDE6D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6968200"/>
              </p:ext>
            </p:extLst>
          </p:nvPr>
        </p:nvGraphicFramePr>
        <p:xfrm>
          <a:off x="2894186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1" name="Rounded Rectangle 12">
            <a:extLst>
              <a:ext uri="{FF2B5EF4-FFF2-40B4-BE49-F238E27FC236}">
                <a16:creationId xmlns:a16="http://schemas.microsoft.com/office/drawing/2014/main" id="{2CDB9EBA-A290-4F1C-B810-B6BF70432083}"/>
              </a:ext>
            </a:extLst>
          </p:cNvPr>
          <p:cNvSpPr/>
          <p:nvPr/>
        </p:nvSpPr>
        <p:spPr>
          <a:xfrm>
            <a:off x="4061702" y="3574287"/>
            <a:ext cx="1336326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AppServic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2" name="Diagram 61">
            <a:extLst>
              <a:ext uri="{FF2B5EF4-FFF2-40B4-BE49-F238E27FC236}">
                <a16:creationId xmlns:a16="http://schemas.microsoft.com/office/drawing/2014/main" id="{D3371B63-DB7B-4C67-9975-1A5745D403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4013949"/>
              </p:ext>
            </p:extLst>
          </p:nvPr>
        </p:nvGraphicFramePr>
        <p:xfrm>
          <a:off x="4396514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63" name="Rounded Rectangle 14">
            <a:extLst>
              <a:ext uri="{FF2B5EF4-FFF2-40B4-BE49-F238E27FC236}">
                <a16:creationId xmlns:a16="http://schemas.microsoft.com/office/drawing/2014/main" id="{7C3CB833-9A3B-4B24-94C6-D7FC81235A00}"/>
              </a:ext>
            </a:extLst>
          </p:cNvPr>
          <p:cNvSpPr/>
          <p:nvPr/>
        </p:nvSpPr>
        <p:spPr>
          <a:xfrm>
            <a:off x="5626947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4" name="Diagram 63">
            <a:extLst>
              <a:ext uri="{FF2B5EF4-FFF2-40B4-BE49-F238E27FC236}">
                <a16:creationId xmlns:a16="http://schemas.microsoft.com/office/drawing/2014/main" id="{44225392-6E74-4757-8B8A-0A7B965061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975681"/>
              </p:ext>
            </p:extLst>
          </p:nvPr>
        </p:nvGraphicFramePr>
        <p:xfrm>
          <a:off x="5742947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65" name="Rounded Rectangle 16">
            <a:extLst>
              <a:ext uri="{FF2B5EF4-FFF2-40B4-BE49-F238E27FC236}">
                <a16:creationId xmlns:a16="http://schemas.microsoft.com/office/drawing/2014/main" id="{B99E2535-9D4B-4B95-838F-B30020D2D3E4}"/>
              </a:ext>
            </a:extLst>
          </p:cNvPr>
          <p:cNvSpPr/>
          <p:nvPr/>
        </p:nvSpPr>
        <p:spPr>
          <a:xfrm>
            <a:off x="6807317" y="3574287"/>
            <a:ext cx="1018564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6" name="Diagram 65">
            <a:extLst>
              <a:ext uri="{FF2B5EF4-FFF2-40B4-BE49-F238E27FC236}">
                <a16:creationId xmlns:a16="http://schemas.microsoft.com/office/drawing/2014/main" id="{70DB955F-200B-412D-95EE-210BB1ACCF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3801309"/>
              </p:ext>
            </p:extLst>
          </p:nvPr>
        </p:nvGraphicFramePr>
        <p:xfrm>
          <a:off x="6923317" y="381694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67" name="Rounded Rectangle 18">
            <a:extLst>
              <a:ext uri="{FF2B5EF4-FFF2-40B4-BE49-F238E27FC236}">
                <a16:creationId xmlns:a16="http://schemas.microsoft.com/office/drawing/2014/main" id="{01C52DA6-06C6-4FA3-8187-7CB8B5F6D569}"/>
              </a:ext>
            </a:extLst>
          </p:cNvPr>
          <p:cNvSpPr/>
          <p:nvPr/>
        </p:nvSpPr>
        <p:spPr>
          <a:xfrm>
            <a:off x="3796750" y="4910445"/>
            <a:ext cx="1853967" cy="1086374"/>
          </a:xfrm>
          <a:prstGeom prst="round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ounded Rectangle 19">
            <a:extLst>
              <a:ext uri="{FF2B5EF4-FFF2-40B4-BE49-F238E27FC236}">
                <a16:creationId xmlns:a16="http://schemas.microsoft.com/office/drawing/2014/main" id="{987022EC-C0F1-41A9-AD98-1E0A1328AB39}"/>
              </a:ext>
            </a:extLst>
          </p:cNvPr>
          <p:cNvSpPr/>
          <p:nvPr/>
        </p:nvSpPr>
        <p:spPr>
          <a:xfrm>
            <a:off x="3870851" y="5015173"/>
            <a:ext cx="1705763" cy="411764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dChil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Component {  }</a:t>
            </a:r>
          </a:p>
        </p:txBody>
      </p:sp>
      <p:sp>
        <p:nvSpPr>
          <p:cNvPr id="69" name="Rounded Rectangle 20">
            <a:extLst>
              <a:ext uri="{FF2B5EF4-FFF2-40B4-BE49-F238E27FC236}">
                <a16:creationId xmlns:a16="http://schemas.microsoft.com/office/drawing/2014/main" id="{F0448276-FD15-49C9-B0C8-03C818E6891D}"/>
              </a:ext>
            </a:extLst>
          </p:cNvPr>
          <p:cNvSpPr/>
          <p:nvPr/>
        </p:nvSpPr>
        <p:spPr>
          <a:xfrm>
            <a:off x="3870852" y="5488934"/>
            <a:ext cx="1705762" cy="411764"/>
          </a:xfrm>
          <a:prstGeom prst="roundRect">
            <a:avLst/>
          </a:prstGeom>
          <a:solidFill>
            <a:srgbClr val="ED7D31"/>
          </a:solidFill>
          <a:ln w="12700" cap="flat" cmpd="sng" algn="ctr">
            <a:solidFill>
              <a:srgbClr val="ED7D31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dChil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plate &lt; &gt;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D592B16A-1FFB-4DE7-9FC0-331DFFD93D3D}"/>
              </a:ext>
            </a:extLst>
          </p:cNvPr>
          <p:cNvCxnSpPr>
            <a:stCxn id="61" idx="2"/>
            <a:endCxn id="67" idx="0"/>
          </p:cNvCxnSpPr>
          <p:nvPr/>
        </p:nvCxnSpPr>
        <p:spPr>
          <a:xfrm flipH="1">
            <a:off x="4723734" y="4521495"/>
            <a:ext cx="6131" cy="38895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8854130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53469"/>
          </a:xfrm>
        </p:spPr>
        <p:txBody>
          <a:bodyPr>
            <a:normAutofit fontScale="90000"/>
          </a:bodyPr>
          <a:lstStyle/>
          <a:p>
            <a:r>
              <a:rPr lang="en-US" dirty="0"/>
              <a:t>Understanding Angular Component Hierarchy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2703" y="1472529"/>
            <a:ext cx="2272045" cy="174045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6057" y="1472529"/>
            <a:ext cx="2286836" cy="1791048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699440" y="1879503"/>
            <a:ext cx="2237345" cy="11338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outer routes to App Compon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38200" y="3150066"/>
            <a:ext cx="1879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oot APP Componen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4202" y="1393484"/>
            <a:ext cx="2152835" cy="2059619"/>
          </a:xfrm>
          <a:prstGeom prst="rect">
            <a:avLst/>
          </a:prstGeom>
        </p:spPr>
      </p:pic>
      <p:sp>
        <p:nvSpPr>
          <p:cNvPr id="11" name="Right Arrow 10"/>
          <p:cNvSpPr/>
          <p:nvPr/>
        </p:nvSpPr>
        <p:spPr>
          <a:xfrm>
            <a:off x="7008920" y="1833239"/>
            <a:ext cx="2006354" cy="11801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maller nested components loade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88892" y="4236983"/>
            <a:ext cx="2419433" cy="2181572"/>
          </a:xfrm>
          <a:prstGeom prst="rect">
            <a:avLst/>
          </a:prstGeom>
        </p:spPr>
      </p:pic>
      <p:sp>
        <p:nvSpPr>
          <p:cNvPr id="13" name="Down Arrow 12"/>
          <p:cNvSpPr/>
          <p:nvPr/>
        </p:nvSpPr>
        <p:spPr>
          <a:xfrm>
            <a:off x="9703293" y="3453103"/>
            <a:ext cx="585926" cy="6261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3538" y="3611962"/>
            <a:ext cx="4679293" cy="2993406"/>
          </a:xfrm>
          <a:prstGeom prst="rect">
            <a:avLst/>
          </a:prstGeom>
        </p:spPr>
      </p:pic>
      <p:sp>
        <p:nvSpPr>
          <p:cNvPr id="17" name="Left Arrow 16"/>
          <p:cNvSpPr/>
          <p:nvPr/>
        </p:nvSpPr>
        <p:spPr>
          <a:xfrm>
            <a:off x="5624004" y="4527612"/>
            <a:ext cx="3124941" cy="134496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outer loads newer components based on new routes </a:t>
            </a:r>
          </a:p>
        </p:txBody>
      </p:sp>
    </p:spTree>
    <p:extLst>
      <p:ext uri="{BB962C8B-B14F-4D97-AF65-F5344CB8AC3E}">
        <p14:creationId xmlns:p14="http://schemas.microsoft.com/office/powerpoint/2010/main" val="3593696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animBg="1"/>
      <p:bldP spid="7" grpId="0"/>
      <p:bldP spid="11" grpId="0" animBg="1"/>
      <p:bldP spid="13" grpId="0" animBg="1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785" y="139735"/>
            <a:ext cx="10515600" cy="599609"/>
          </a:xfrm>
        </p:spPr>
        <p:txBody>
          <a:bodyPr>
            <a:normAutofit fontScale="90000"/>
          </a:bodyPr>
          <a:lstStyle/>
          <a:p>
            <a:r>
              <a:rPr lang="en-US" dirty="0"/>
              <a:t>Understanding Angular Modul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94046"/>
            <a:ext cx="10515600" cy="4787303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082541"/>
            <a:ext cx="10738513" cy="48237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915" y="1113468"/>
            <a:ext cx="11101081" cy="49779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914" y="1010924"/>
            <a:ext cx="11168871" cy="51419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205" y="966506"/>
            <a:ext cx="11300347" cy="518637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8370" y="856300"/>
            <a:ext cx="11377415" cy="522172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6137" y="822344"/>
            <a:ext cx="11377415" cy="5330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04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299" y="353641"/>
            <a:ext cx="11286368" cy="573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045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32860" cy="6155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439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11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056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0749"/>
            <a:ext cx="12192000" cy="6161298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AA5E751-1AB8-4A46-802A-44E13EA0295B}"/>
              </a:ext>
            </a:extLst>
          </p:cNvPr>
          <p:cNvSpPr txBox="1">
            <a:spLocks/>
          </p:cNvSpPr>
          <p:nvPr/>
        </p:nvSpPr>
        <p:spPr>
          <a:xfrm>
            <a:off x="171278" y="6571853"/>
            <a:ext cx="5714999" cy="1460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85722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2393"/>
            <a:ext cx="12192000" cy="570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70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64CEFE-1137-46BF-9FBD-64524B8B091E}"/>
              </a:ext>
            </a:extLst>
          </p:cNvPr>
          <p:cNvSpPr txBox="1">
            <a:spLocks/>
          </p:cNvSpPr>
          <p:nvPr/>
        </p:nvSpPr>
        <p:spPr>
          <a:xfrm>
            <a:off x="4346547" y="2388237"/>
            <a:ext cx="7652602" cy="462357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WHY USE NOD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7A4772-BB07-432D-87E3-DAAE7C6444FE}"/>
              </a:ext>
            </a:extLst>
          </p:cNvPr>
          <p:cNvSpPr txBox="1">
            <a:spLocks/>
          </p:cNvSpPr>
          <p:nvPr/>
        </p:nvSpPr>
        <p:spPr>
          <a:xfrm>
            <a:off x="4346547" y="3220070"/>
            <a:ext cx="7809641" cy="462357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INSTALL NODE – Demo “Hello world” program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8CB09D-48C4-417A-A1B5-CDF0B65E5C8A}"/>
              </a:ext>
            </a:extLst>
          </p:cNvPr>
          <p:cNvSpPr txBox="1">
            <a:spLocks/>
          </p:cNvSpPr>
          <p:nvPr/>
        </p:nvSpPr>
        <p:spPr>
          <a:xfrm>
            <a:off x="277092" y="2430585"/>
            <a:ext cx="3920836" cy="1340161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80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 Black" panose="020B0A03030202060203" pitchFamily="34" charset="0"/>
                <a:cs typeface="+mn-cs"/>
              </a:rPr>
              <a:t>agend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58A283-662E-4635-911E-8DE8EB8429EE}"/>
              </a:ext>
            </a:extLst>
          </p:cNvPr>
          <p:cNvSpPr txBox="1">
            <a:spLocks/>
          </p:cNvSpPr>
          <p:nvPr/>
        </p:nvSpPr>
        <p:spPr>
          <a:xfrm>
            <a:off x="4346547" y="1104595"/>
            <a:ext cx="7567188" cy="1151776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How node works –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BLOCKING VS NON-BLOCKING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EVENT QUEU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76104D-68F4-4780-AF22-73945260D7C4}"/>
              </a:ext>
            </a:extLst>
          </p:cNvPr>
          <p:cNvSpPr txBox="1">
            <a:spLocks/>
          </p:cNvSpPr>
          <p:nvPr/>
        </p:nvSpPr>
        <p:spPr>
          <a:xfrm>
            <a:off x="4091248" y="4726628"/>
            <a:ext cx="6190376" cy="411895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lvl="1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INSTALL and connect to mongo-</a:t>
            </a:r>
            <a:r>
              <a:rPr lang="en-US" sz="24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db</a:t>
            </a:r>
            <a:endParaRPr lang="en-US" sz="2400" cap="all" dirty="0">
              <a:solidFill>
                <a:schemeClr val="bg1"/>
              </a:solidFill>
              <a:latin typeface="Graphik Black" panose="020B0A03030202060203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4EAE744-D63C-468D-8EFF-E122B1FE2663}"/>
              </a:ext>
            </a:extLst>
          </p:cNvPr>
          <p:cNvSpPr txBox="1">
            <a:spLocks/>
          </p:cNvSpPr>
          <p:nvPr/>
        </p:nvSpPr>
        <p:spPr>
          <a:xfrm>
            <a:off x="4346547" y="5373215"/>
            <a:ext cx="6716086" cy="459600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SQL VS NOSQL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70C91FF-C9D3-4883-8D7D-554ED5BCFE0C}"/>
              </a:ext>
            </a:extLst>
          </p:cNvPr>
          <p:cNvSpPr/>
          <p:nvPr/>
        </p:nvSpPr>
        <p:spPr>
          <a:xfrm>
            <a:off x="4214749" y="3981710"/>
            <a:ext cx="4036618" cy="4456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REST API and standard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CD0B31C-1EFF-4DFA-9712-ABEB33E5ADA7}"/>
              </a:ext>
            </a:extLst>
          </p:cNvPr>
          <p:cNvSpPr txBox="1">
            <a:spLocks/>
          </p:cNvSpPr>
          <p:nvPr/>
        </p:nvSpPr>
        <p:spPr>
          <a:xfrm>
            <a:off x="4346547" y="571946"/>
            <a:ext cx="7567188" cy="462357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2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What IS Node</a:t>
            </a:r>
          </a:p>
        </p:txBody>
      </p:sp>
    </p:spTree>
    <p:extLst>
      <p:ext uri="{BB962C8B-B14F-4D97-AF65-F5344CB8AC3E}">
        <p14:creationId xmlns:p14="http://schemas.microsoft.com/office/powerpoint/2010/main" val="3296578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39684" cy="6223379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0F4E781-8ACD-409C-8AE2-B45CD4925AEA}"/>
              </a:ext>
            </a:extLst>
          </p:cNvPr>
          <p:cNvSpPr txBox="1">
            <a:spLocks/>
          </p:cNvSpPr>
          <p:nvPr/>
        </p:nvSpPr>
        <p:spPr>
          <a:xfrm>
            <a:off x="171278" y="6571853"/>
            <a:ext cx="5714999" cy="1460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9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29409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2351"/>
            <a:ext cx="12192000" cy="619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18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0F720-E6D1-4BCE-AD32-06FA59330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224" y="499534"/>
            <a:ext cx="10772775" cy="687822"/>
          </a:xfrm>
        </p:spPr>
        <p:txBody>
          <a:bodyPr>
            <a:normAutofit fontScale="90000"/>
          </a:bodyPr>
          <a:lstStyle/>
          <a:p>
            <a:r>
              <a:rPr lang="en-US" dirty="0"/>
              <a:t>Quiz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A9233-BAF3-4F82-AD26-54A8909D2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137" y="1545907"/>
            <a:ext cx="10753725" cy="4812559"/>
          </a:xfrm>
        </p:spPr>
        <p:txBody>
          <a:bodyPr/>
          <a:lstStyle/>
          <a:p>
            <a:r>
              <a:rPr lang="en-US" dirty="0"/>
              <a:t>Go to </a:t>
            </a:r>
            <a:r>
              <a:rPr lang="en-US" dirty="0">
                <a:hlinkClick r:id="rId2"/>
              </a:rPr>
              <a:t>www.menti.com</a:t>
            </a:r>
            <a:r>
              <a:rPr lang="en-US" dirty="0"/>
              <a:t> and use code 34 36 04</a:t>
            </a:r>
          </a:p>
        </p:txBody>
      </p:sp>
    </p:spTree>
    <p:extLst>
      <p:ext uri="{BB962C8B-B14F-4D97-AF65-F5344CB8AC3E}">
        <p14:creationId xmlns:p14="http://schemas.microsoft.com/office/powerpoint/2010/main" val="18895741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1249"/>
          </a:xfrm>
        </p:spPr>
        <p:txBody>
          <a:bodyPr>
            <a:normAutofit fontScale="90000"/>
          </a:bodyPr>
          <a:lstStyle/>
          <a:p>
            <a:r>
              <a:rPr lang="en-US" dirty="0"/>
              <a:t>Li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28371"/>
            <a:ext cx="10515600" cy="4832008"/>
          </a:xfrm>
        </p:spPr>
        <p:txBody>
          <a:bodyPr/>
          <a:lstStyle/>
          <a:p>
            <a:r>
              <a:rPr lang="en-US" dirty="0"/>
              <a:t>Official :   </a:t>
            </a:r>
            <a:r>
              <a:rPr lang="en-US" dirty="0">
                <a:hlinkClick r:id="rId2"/>
              </a:rPr>
              <a:t>https://angular.io/docs</a:t>
            </a:r>
            <a:r>
              <a:rPr lang="en-US" dirty="0"/>
              <a:t> </a:t>
            </a:r>
          </a:p>
          <a:p>
            <a:r>
              <a:rPr lang="en-US" dirty="0">
                <a:hlinkClick r:id="rId3"/>
              </a:rPr>
              <a:t>https://www.pluralsight.com/paths/angular</a:t>
            </a:r>
            <a:r>
              <a:rPr lang="en-US" dirty="0"/>
              <a:t> </a:t>
            </a:r>
          </a:p>
          <a:p>
            <a:r>
              <a:rPr lang="en-US" dirty="0"/>
              <a:t>YouTube channel : </a:t>
            </a:r>
            <a:r>
              <a:rPr lang="en-US" dirty="0">
                <a:hlinkClick r:id="rId4"/>
              </a:rPr>
              <a:t>https://www.youtube.com/watch?v=KhzGSHNhnbI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ttps://www.edureka.co/blog/angular-tutorial/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2363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7389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Angular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2514"/>
            <a:ext cx="10515600" cy="4134753"/>
          </a:xfrm>
        </p:spPr>
        <p:txBody>
          <a:bodyPr/>
          <a:lstStyle/>
          <a:p>
            <a:r>
              <a:rPr lang="en-US" dirty="0"/>
              <a:t>Developed by Google</a:t>
            </a:r>
          </a:p>
          <a:p>
            <a:r>
              <a:rPr lang="en-US" dirty="0"/>
              <a:t>An open source JavaScript based framework for building client applications in HTML</a:t>
            </a:r>
          </a:p>
          <a:p>
            <a:r>
              <a:rPr lang="en-US" dirty="0" err="1"/>
              <a:t>Javascript</a:t>
            </a:r>
            <a:r>
              <a:rPr lang="en-US" dirty="0"/>
              <a:t> or Typescript can be used </a:t>
            </a:r>
          </a:p>
          <a:p>
            <a:r>
              <a:rPr lang="en-US" dirty="0"/>
              <a:t>Composes HTML Templates and </a:t>
            </a:r>
            <a:r>
              <a:rPr lang="en-US" dirty="0" err="1"/>
              <a:t>Angularized</a:t>
            </a:r>
            <a:r>
              <a:rPr lang="en-US" dirty="0"/>
              <a:t> markup</a:t>
            </a:r>
          </a:p>
          <a:p>
            <a:r>
              <a:rPr lang="en-US" dirty="0"/>
              <a:t>Empowers developers to build applications that live on the web, mobile, or the desktop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975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1249"/>
          </a:xfrm>
        </p:spPr>
        <p:txBody>
          <a:bodyPr>
            <a:normAutofit fontScale="90000"/>
          </a:bodyPr>
          <a:lstStyle/>
          <a:p>
            <a:r>
              <a:rPr lang="en-US" dirty="0"/>
              <a:t>Advantages and Disadvantages of Angula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16404"/>
            <a:ext cx="10515600" cy="496055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974987" y="1164282"/>
          <a:ext cx="10148815" cy="485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2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58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dvant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advantag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Open source - Built by googl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lient Side Framework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peed and Performance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Faster initial load and improved rendering time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ode generation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Universal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ode splitting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Productivity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Full development story – testing, animation, accessibility, better code coverag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omponent model for enhanced reusabilit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Extensive Documentation and Support ( Google long term support )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Support of Typescript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Confusion – because of AngularJS and Angular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Learning Curve can be little mor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Divided and churning</a:t>
                      </a:r>
                      <a:r>
                        <a:rPr lang="en-US" baseline="0" dirty="0"/>
                        <a:t> communit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dirty="0"/>
                        <a:t>Somewhat verbose and comple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6613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2526"/>
          </a:xfrm>
        </p:spPr>
        <p:txBody>
          <a:bodyPr>
            <a:normAutofit fontScale="90000"/>
          </a:bodyPr>
          <a:lstStyle/>
          <a:p>
            <a:r>
              <a:rPr lang="en-US" dirty="0"/>
              <a:t>History with AngularJ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838200" y="1073842"/>
            <a:ext cx="10515600" cy="5103121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AngularJS was Based on MVC and had scope and controllers where as Angular is component based framework</a:t>
            </a:r>
          </a:p>
          <a:p>
            <a:r>
              <a:rPr lang="en-US" sz="2000" dirty="0"/>
              <a:t>Angular is modular – Core functionality of AngularJS is moved to different modules</a:t>
            </a:r>
          </a:p>
          <a:p>
            <a:r>
              <a:rPr lang="en-US" sz="2000" dirty="0"/>
              <a:t>Bundle file size reduced by 60%, which increased the code </a:t>
            </a:r>
            <a:r>
              <a:rPr lang="en-US" sz="2000" dirty="0" err="1"/>
              <a:t>developement</a:t>
            </a:r>
            <a:endParaRPr lang="en-US" sz="2000" dirty="0"/>
          </a:p>
          <a:p>
            <a:r>
              <a:rPr lang="en-US" sz="2000" dirty="0"/>
              <a:t>Lighter and faster core, dynamic loading, reactive programing support is added to Angular</a:t>
            </a:r>
          </a:p>
          <a:p>
            <a:r>
              <a:rPr lang="en-US" sz="2000" dirty="0"/>
              <a:t>Angular CLI is added</a:t>
            </a:r>
          </a:p>
          <a:p>
            <a:r>
              <a:rPr lang="en-US" sz="2000" dirty="0"/>
              <a:t>Typescript is introduced with support of ES6</a:t>
            </a:r>
          </a:p>
          <a:p>
            <a:r>
              <a:rPr lang="en-US" sz="2000" dirty="0"/>
              <a:t>Lambda operators, iterators or reflection’s mechanism are added because of support to ES6</a:t>
            </a:r>
          </a:p>
          <a:p>
            <a:r>
              <a:rPr lang="en-US" sz="2000" dirty="0"/>
              <a:t>Better Project Structure</a:t>
            </a:r>
          </a:p>
          <a:p>
            <a:r>
              <a:rPr lang="en-US" sz="2000" dirty="0"/>
              <a:t>Rendering of View is happening a runtime </a:t>
            </a:r>
          </a:p>
          <a:p>
            <a:r>
              <a:rPr lang="en-US" sz="2000" dirty="0"/>
              <a:t>Better mobile support</a:t>
            </a:r>
          </a:p>
          <a:p>
            <a:r>
              <a:rPr lang="en-US" sz="2000" dirty="0">
                <a:hlinkClick r:id="rId3"/>
              </a:rPr>
              <a:t>More differences: </a:t>
            </a:r>
          </a:p>
          <a:p>
            <a:pPr lvl="1"/>
            <a:r>
              <a:rPr lang="en-US" sz="1600" dirty="0">
                <a:hlinkClick r:id="rId3"/>
              </a:rPr>
              <a:t>https://www.slideshare.net/EyalV/angular-1x-vs-angular-2x?qid=cb42d4d8-fb09-4ed2-988c-625a77df0da9&amp;v=&amp;b=&amp;from_search=1</a:t>
            </a:r>
            <a:r>
              <a:rPr lang="en-US" sz="1600" dirty="0"/>
              <a:t> 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27306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915"/>
          </a:xfrm>
        </p:spPr>
        <p:txBody>
          <a:bodyPr>
            <a:normAutofit fontScale="90000"/>
          </a:bodyPr>
          <a:lstStyle/>
          <a:p>
            <a:r>
              <a:rPr lang="en-US" dirty="0"/>
              <a:t>Introduction of 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41571"/>
            <a:ext cx="10515600" cy="471880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uperset of JavaScript (ES6) – but can compile till ES3</a:t>
            </a:r>
          </a:p>
          <a:p>
            <a:r>
              <a:rPr lang="en-US" dirty="0"/>
              <a:t>Productive in writing JS application</a:t>
            </a:r>
          </a:p>
          <a:p>
            <a:r>
              <a:rPr lang="en-US" dirty="0"/>
              <a:t>Implement the OOPS Concept</a:t>
            </a:r>
          </a:p>
          <a:p>
            <a:r>
              <a:rPr lang="en-US" dirty="0"/>
              <a:t>A Java or C# developer can easily code in Angular. You don’t have to be a JavaScript developer.</a:t>
            </a:r>
          </a:p>
          <a:p>
            <a:r>
              <a:rPr lang="en-US" dirty="0"/>
              <a:t>Lambda operators, iterators or reflection’s mechanism is available</a:t>
            </a:r>
          </a:p>
          <a:p>
            <a:r>
              <a:rPr lang="en-US" dirty="0"/>
              <a:t>Optional Types are available – See slide 16 from below link</a:t>
            </a:r>
          </a:p>
          <a:p>
            <a:r>
              <a:rPr lang="en-US" dirty="0"/>
              <a:t>Arrow functions – implicit returns  See slide 33</a:t>
            </a:r>
          </a:p>
          <a:p>
            <a:r>
              <a:rPr lang="en-US" dirty="0"/>
              <a:t>Link about Type script :</a:t>
            </a:r>
          </a:p>
          <a:p>
            <a:r>
              <a:rPr lang="en-US" dirty="0">
                <a:hlinkClick r:id="rId2"/>
              </a:rPr>
              <a:t>https://www.slideshare.net/SanderMak/typescript-coding-javascript-without-the-pain?qid=8e74b82f-ba6c-44ce-b3f2-d741cf3f9f52&amp;v=&amp;b=&amp;from_search=6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837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92">
            <a:extLst>
              <a:ext uri="{FF2B5EF4-FFF2-40B4-BE49-F238E27FC236}">
                <a16:creationId xmlns:a16="http://schemas.microsoft.com/office/drawing/2014/main" id="{080A17D1-A2C5-4BE4-A3DF-098C8528CEAE}"/>
              </a:ext>
            </a:extLst>
          </p:cNvPr>
          <p:cNvSpPr/>
          <p:nvPr/>
        </p:nvSpPr>
        <p:spPr>
          <a:xfrm>
            <a:off x="583034" y="3469154"/>
            <a:ext cx="2265028" cy="2432807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jecto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CD73EBD-A5A7-4116-AB7F-0973C39BABF0}"/>
              </a:ext>
            </a:extLst>
          </p:cNvPr>
          <p:cNvSpPr txBox="1">
            <a:spLocks/>
          </p:cNvSpPr>
          <p:nvPr/>
        </p:nvSpPr>
        <p:spPr>
          <a:xfrm>
            <a:off x="583034" y="213299"/>
            <a:ext cx="10515600" cy="7325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raphik Black" panose="020B0A03030202060203" pitchFamily="34" charset="0"/>
                <a:ea typeface="+mj-ea"/>
                <a:cs typeface="+mj-cs"/>
              </a:rPr>
              <a:t>Angular Architecture</a:t>
            </a:r>
          </a:p>
        </p:txBody>
      </p:sp>
      <p:graphicFrame>
        <p:nvGraphicFramePr>
          <p:cNvPr id="50" name="Diagram 49">
            <a:extLst>
              <a:ext uri="{FF2B5EF4-FFF2-40B4-BE49-F238E27FC236}">
                <a16:creationId xmlns:a16="http://schemas.microsoft.com/office/drawing/2014/main" id="{7910B4CE-C90D-4382-B001-E9C65A330FA6}"/>
              </a:ext>
            </a:extLst>
          </p:cNvPr>
          <p:cNvGraphicFramePr/>
          <p:nvPr/>
        </p:nvGraphicFramePr>
        <p:xfrm>
          <a:off x="475842" y="1317378"/>
          <a:ext cx="2451916" cy="195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1" name="Rounded Rectangle 48">
            <a:extLst>
              <a:ext uri="{FF2B5EF4-FFF2-40B4-BE49-F238E27FC236}">
                <a16:creationId xmlns:a16="http://schemas.microsoft.com/office/drawing/2014/main" id="{1A80F813-5C8D-4D97-82FF-C57EF23EEC07}"/>
              </a:ext>
            </a:extLst>
          </p:cNvPr>
          <p:cNvSpPr/>
          <p:nvPr/>
        </p:nvSpPr>
        <p:spPr>
          <a:xfrm>
            <a:off x="738231" y="3906130"/>
            <a:ext cx="1946246" cy="947208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2" name="Diagram 51">
            <a:extLst>
              <a:ext uri="{FF2B5EF4-FFF2-40B4-BE49-F238E27FC236}">
                <a16:creationId xmlns:a16="http://schemas.microsoft.com/office/drawing/2014/main" id="{57455DAC-40E1-48D9-A20F-BEA60A5366E7}"/>
              </a:ext>
            </a:extLst>
          </p:cNvPr>
          <p:cNvGraphicFramePr/>
          <p:nvPr/>
        </p:nvGraphicFramePr>
        <p:xfrm>
          <a:off x="1324015" y="4182342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3" name="Rounded Rectangle 50">
            <a:extLst>
              <a:ext uri="{FF2B5EF4-FFF2-40B4-BE49-F238E27FC236}">
                <a16:creationId xmlns:a16="http://schemas.microsoft.com/office/drawing/2014/main" id="{3CC85815-B227-4E04-A527-61FF5FF15130}"/>
              </a:ext>
            </a:extLst>
          </p:cNvPr>
          <p:cNvSpPr/>
          <p:nvPr/>
        </p:nvSpPr>
        <p:spPr>
          <a:xfrm>
            <a:off x="679398" y="4913912"/>
            <a:ext cx="1008730" cy="818666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76037B3-7D3D-470D-87E8-70B58806284A}"/>
              </a:ext>
            </a:extLst>
          </p:cNvPr>
          <p:cNvGrpSpPr/>
          <p:nvPr/>
        </p:nvGrpSpPr>
        <p:grpSpPr>
          <a:xfrm>
            <a:off x="1121338" y="5253948"/>
            <a:ext cx="405350" cy="405350"/>
            <a:chOff x="434098" y="331650"/>
            <a:chExt cx="405350" cy="405350"/>
          </a:xfrm>
        </p:grpSpPr>
        <p:sp>
          <p:nvSpPr>
            <p:cNvPr id="55" name="Shape 54">
              <a:extLst>
                <a:ext uri="{FF2B5EF4-FFF2-40B4-BE49-F238E27FC236}">
                  <a16:creationId xmlns:a16="http://schemas.microsoft.com/office/drawing/2014/main" id="{24A6D7C4-9A5C-4F04-B60E-0CA4D74BCAC5}"/>
                </a:ext>
              </a:extLst>
            </p:cNvPr>
            <p:cNvSpPr/>
            <p:nvPr/>
          </p:nvSpPr>
          <p:spPr>
            <a:xfrm>
              <a:off x="434098" y="331650"/>
              <a:ext cx="405350" cy="405350"/>
            </a:xfrm>
            <a:prstGeom prst="gear9">
              <a:avLst/>
            </a:prstGeom>
            <a:solidFill>
              <a:srgbClr val="FFC000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56" name="Shape 4">
              <a:extLst>
                <a:ext uri="{FF2B5EF4-FFF2-40B4-BE49-F238E27FC236}">
                  <a16:creationId xmlns:a16="http://schemas.microsoft.com/office/drawing/2014/main" id="{5B9850A2-BFBB-4D34-A059-AE1130DD3C98}"/>
                </a:ext>
              </a:extLst>
            </p:cNvPr>
            <p:cNvSpPr/>
            <p:nvPr/>
          </p:nvSpPr>
          <p:spPr>
            <a:xfrm>
              <a:off x="515591" y="426601"/>
              <a:ext cx="242364" cy="20835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DFB3AD1-E6CD-428D-B7A8-D236AC76F0A4}"/>
              </a:ext>
            </a:extLst>
          </p:cNvPr>
          <p:cNvGrpSpPr/>
          <p:nvPr/>
        </p:nvGrpSpPr>
        <p:grpSpPr>
          <a:xfrm>
            <a:off x="876668" y="5153255"/>
            <a:ext cx="294799" cy="294799"/>
            <a:chOff x="198258" y="235840"/>
            <a:chExt cx="294799" cy="294799"/>
          </a:xfrm>
        </p:grpSpPr>
        <p:sp>
          <p:nvSpPr>
            <p:cNvPr id="58" name="Shape 57">
              <a:extLst>
                <a:ext uri="{FF2B5EF4-FFF2-40B4-BE49-F238E27FC236}">
                  <a16:creationId xmlns:a16="http://schemas.microsoft.com/office/drawing/2014/main" id="{ECDE5668-AD23-4202-A0A7-87F6EA3FCF60}"/>
                </a:ext>
              </a:extLst>
            </p:cNvPr>
            <p:cNvSpPr/>
            <p:nvPr/>
          </p:nvSpPr>
          <p:spPr>
            <a:xfrm>
              <a:off x="198258" y="235840"/>
              <a:ext cx="294799" cy="294799"/>
            </a:xfrm>
            <a:prstGeom prst="gear6">
              <a:avLst/>
            </a:prstGeom>
            <a:solidFill>
              <a:srgbClr val="FFC000">
                <a:hueOff val="5197846"/>
                <a:satOff val="-23984"/>
                <a:lumOff val="883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59" name="Shape 6">
              <a:extLst>
                <a:ext uri="{FF2B5EF4-FFF2-40B4-BE49-F238E27FC236}">
                  <a16:creationId xmlns:a16="http://schemas.microsoft.com/office/drawing/2014/main" id="{CBAD6F53-4D31-4112-A385-87AFE41298CB}"/>
                </a:ext>
              </a:extLst>
            </p:cNvPr>
            <p:cNvSpPr/>
            <p:nvPr/>
          </p:nvSpPr>
          <p:spPr>
            <a:xfrm>
              <a:off x="272475" y="310505"/>
              <a:ext cx="146365" cy="1454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68668B5-611D-4BF2-90B1-78FB20D27AB8}"/>
              </a:ext>
            </a:extLst>
          </p:cNvPr>
          <p:cNvGrpSpPr/>
          <p:nvPr/>
        </p:nvGrpSpPr>
        <p:grpSpPr>
          <a:xfrm>
            <a:off x="1041786" y="4949873"/>
            <a:ext cx="288843" cy="288843"/>
            <a:chOff x="363376" y="32458"/>
            <a:chExt cx="288843" cy="288843"/>
          </a:xfrm>
        </p:grpSpPr>
        <p:sp>
          <p:nvSpPr>
            <p:cNvPr id="61" name="Shape 60">
              <a:extLst>
                <a:ext uri="{FF2B5EF4-FFF2-40B4-BE49-F238E27FC236}">
                  <a16:creationId xmlns:a16="http://schemas.microsoft.com/office/drawing/2014/main" id="{A51B9690-EE41-40C0-9FFD-8D79A0687326}"/>
                </a:ext>
              </a:extLst>
            </p:cNvPr>
            <p:cNvSpPr/>
            <p:nvPr/>
          </p:nvSpPr>
          <p:spPr>
            <a:xfrm rot="20700000">
              <a:off x="363376" y="32458"/>
              <a:ext cx="288843" cy="288843"/>
            </a:xfrm>
            <a:prstGeom prst="gear6">
              <a:avLst/>
            </a:prstGeom>
            <a:solidFill>
              <a:srgbClr val="FFC000">
                <a:hueOff val="10395692"/>
                <a:satOff val="-47968"/>
                <a:lumOff val="1765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62" name="Shape 8">
              <a:extLst>
                <a:ext uri="{FF2B5EF4-FFF2-40B4-BE49-F238E27FC236}">
                  <a16:creationId xmlns:a16="http://schemas.microsoft.com/office/drawing/2014/main" id="{4D887F7C-C1DF-412F-8BFC-6975E829FD2F}"/>
                </a:ext>
              </a:extLst>
            </p:cNvPr>
            <p:cNvSpPr/>
            <p:nvPr/>
          </p:nvSpPr>
          <p:spPr>
            <a:xfrm>
              <a:off x="426728" y="95809"/>
              <a:ext cx="162140" cy="16214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63" name="Circular Arrow 60">
            <a:extLst>
              <a:ext uri="{FF2B5EF4-FFF2-40B4-BE49-F238E27FC236}">
                <a16:creationId xmlns:a16="http://schemas.microsoft.com/office/drawing/2014/main" id="{7664993E-3431-465A-AEE8-9F00C2952471}"/>
              </a:ext>
            </a:extLst>
          </p:cNvPr>
          <p:cNvSpPr/>
          <p:nvPr/>
        </p:nvSpPr>
        <p:spPr>
          <a:xfrm>
            <a:off x="1057969" y="5213730"/>
            <a:ext cx="518848" cy="518848"/>
          </a:xfrm>
          <a:prstGeom prst="circularArrow">
            <a:avLst>
              <a:gd name="adj1" fmla="val 4688"/>
              <a:gd name="adj2" fmla="val 299029"/>
              <a:gd name="adj3" fmla="val 2239298"/>
              <a:gd name="adj4" fmla="val 16714544"/>
              <a:gd name="adj5" fmla="val 5469"/>
            </a:avLst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64" name="Shape 63">
            <a:extLst>
              <a:ext uri="{FF2B5EF4-FFF2-40B4-BE49-F238E27FC236}">
                <a16:creationId xmlns:a16="http://schemas.microsoft.com/office/drawing/2014/main" id="{AF4B4279-7C02-4AE7-AA58-4C76E1F6404B}"/>
              </a:ext>
            </a:extLst>
          </p:cNvPr>
          <p:cNvSpPr/>
          <p:nvPr/>
        </p:nvSpPr>
        <p:spPr>
          <a:xfrm>
            <a:off x="824459" y="5102864"/>
            <a:ext cx="376975" cy="376975"/>
          </a:xfrm>
          <a:prstGeom prst="leftCircularArrow">
            <a:avLst>
              <a:gd name="adj1" fmla="val 6452"/>
              <a:gd name="adj2" fmla="val 429999"/>
              <a:gd name="adj3" fmla="val 10489124"/>
              <a:gd name="adj4" fmla="val 14837806"/>
              <a:gd name="adj5" fmla="val 7527"/>
            </a:avLst>
          </a:prstGeom>
          <a:solidFill>
            <a:srgbClr val="FFC000">
              <a:hueOff val="5197846"/>
              <a:satOff val="-23984"/>
              <a:lumOff val="883"/>
              <a:alphaOff val="0"/>
            </a:srgbClr>
          </a:solidFill>
          <a:ln>
            <a:noFill/>
          </a:ln>
          <a:effectLst/>
        </p:spPr>
      </p:sp>
      <p:sp>
        <p:nvSpPr>
          <p:cNvPr id="65" name="Circular Arrow 62">
            <a:extLst>
              <a:ext uri="{FF2B5EF4-FFF2-40B4-BE49-F238E27FC236}">
                <a16:creationId xmlns:a16="http://schemas.microsoft.com/office/drawing/2014/main" id="{B368A0A0-E197-4BF4-B4D2-A9871E01FB0D}"/>
              </a:ext>
            </a:extLst>
          </p:cNvPr>
          <p:cNvSpPr/>
          <p:nvPr/>
        </p:nvSpPr>
        <p:spPr>
          <a:xfrm>
            <a:off x="974973" y="4901443"/>
            <a:ext cx="406455" cy="406455"/>
          </a:xfrm>
          <a:prstGeom prst="circularArrow">
            <a:avLst>
              <a:gd name="adj1" fmla="val 5984"/>
              <a:gd name="adj2" fmla="val 394124"/>
              <a:gd name="adj3" fmla="val 13313824"/>
              <a:gd name="adj4" fmla="val 10508221"/>
              <a:gd name="adj5" fmla="val 6981"/>
            </a:avLst>
          </a:prstGeom>
          <a:solidFill>
            <a:srgbClr val="FFC000">
              <a:hueOff val="10395692"/>
              <a:satOff val="-47968"/>
              <a:lumOff val="1765"/>
              <a:alphaOff val="0"/>
            </a:srgbClr>
          </a:solidFill>
          <a:ln>
            <a:noFill/>
          </a:ln>
          <a:effectLst/>
        </p:spPr>
      </p:sp>
      <p:sp>
        <p:nvSpPr>
          <p:cNvPr id="66" name="Rounded Rectangle 77">
            <a:extLst>
              <a:ext uri="{FF2B5EF4-FFF2-40B4-BE49-F238E27FC236}">
                <a16:creationId xmlns:a16="http://schemas.microsoft.com/office/drawing/2014/main" id="{B42C56EA-ABB0-4CB0-B489-6947450E33A1}"/>
              </a:ext>
            </a:extLst>
          </p:cNvPr>
          <p:cNvSpPr/>
          <p:nvPr/>
        </p:nvSpPr>
        <p:spPr>
          <a:xfrm>
            <a:off x="1740855" y="4913912"/>
            <a:ext cx="1008730" cy="818666"/>
          </a:xfrm>
          <a:prstGeom prst="roundRect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46A775-5B90-4F46-8A3D-9C5ABCEE2F27}"/>
              </a:ext>
            </a:extLst>
          </p:cNvPr>
          <p:cNvGrpSpPr/>
          <p:nvPr/>
        </p:nvGrpSpPr>
        <p:grpSpPr>
          <a:xfrm>
            <a:off x="2182795" y="5253948"/>
            <a:ext cx="405350" cy="405350"/>
            <a:chOff x="434098" y="331650"/>
            <a:chExt cx="405350" cy="405350"/>
          </a:xfrm>
        </p:grpSpPr>
        <p:sp>
          <p:nvSpPr>
            <p:cNvPr id="68" name="Shape 67">
              <a:extLst>
                <a:ext uri="{FF2B5EF4-FFF2-40B4-BE49-F238E27FC236}">
                  <a16:creationId xmlns:a16="http://schemas.microsoft.com/office/drawing/2014/main" id="{CCA3AA65-B2EF-40E5-858F-A0D06A7EA870}"/>
                </a:ext>
              </a:extLst>
            </p:cNvPr>
            <p:cNvSpPr/>
            <p:nvPr/>
          </p:nvSpPr>
          <p:spPr>
            <a:xfrm>
              <a:off x="434098" y="331650"/>
              <a:ext cx="405350" cy="405350"/>
            </a:xfrm>
            <a:prstGeom prst="gear9">
              <a:avLst/>
            </a:prstGeom>
            <a:solidFill>
              <a:srgbClr val="FFC000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69" name="Shape 4">
              <a:extLst>
                <a:ext uri="{FF2B5EF4-FFF2-40B4-BE49-F238E27FC236}">
                  <a16:creationId xmlns:a16="http://schemas.microsoft.com/office/drawing/2014/main" id="{4B6C737D-E88A-411B-A0C5-A25716ACD28F}"/>
                </a:ext>
              </a:extLst>
            </p:cNvPr>
            <p:cNvSpPr/>
            <p:nvPr/>
          </p:nvSpPr>
          <p:spPr>
            <a:xfrm>
              <a:off x="515591" y="426601"/>
              <a:ext cx="242364" cy="20835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D084751-3111-44D3-B7D1-C9EFA6CE0712}"/>
              </a:ext>
            </a:extLst>
          </p:cNvPr>
          <p:cNvGrpSpPr/>
          <p:nvPr/>
        </p:nvGrpSpPr>
        <p:grpSpPr>
          <a:xfrm>
            <a:off x="1938125" y="5153255"/>
            <a:ext cx="294799" cy="294799"/>
            <a:chOff x="198258" y="235840"/>
            <a:chExt cx="294799" cy="294799"/>
          </a:xfrm>
        </p:grpSpPr>
        <p:sp>
          <p:nvSpPr>
            <p:cNvPr id="71" name="Shape 70">
              <a:extLst>
                <a:ext uri="{FF2B5EF4-FFF2-40B4-BE49-F238E27FC236}">
                  <a16:creationId xmlns:a16="http://schemas.microsoft.com/office/drawing/2014/main" id="{8CC8C9B3-765E-4C15-8EDA-7EC50C567530}"/>
                </a:ext>
              </a:extLst>
            </p:cNvPr>
            <p:cNvSpPr/>
            <p:nvPr/>
          </p:nvSpPr>
          <p:spPr>
            <a:xfrm>
              <a:off x="198258" y="235840"/>
              <a:ext cx="294799" cy="294799"/>
            </a:xfrm>
            <a:prstGeom prst="gear6">
              <a:avLst/>
            </a:prstGeom>
            <a:solidFill>
              <a:srgbClr val="FFC000">
                <a:hueOff val="5197846"/>
                <a:satOff val="-23984"/>
                <a:lumOff val="883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72" name="Shape 6">
              <a:extLst>
                <a:ext uri="{FF2B5EF4-FFF2-40B4-BE49-F238E27FC236}">
                  <a16:creationId xmlns:a16="http://schemas.microsoft.com/office/drawing/2014/main" id="{AAC2AC21-5660-4D90-823F-C2B5121122DF}"/>
                </a:ext>
              </a:extLst>
            </p:cNvPr>
            <p:cNvSpPr/>
            <p:nvPr/>
          </p:nvSpPr>
          <p:spPr>
            <a:xfrm>
              <a:off x="272475" y="310505"/>
              <a:ext cx="146365" cy="1454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2373EB7-3D31-49EC-899A-70A8054EF77C}"/>
              </a:ext>
            </a:extLst>
          </p:cNvPr>
          <p:cNvGrpSpPr/>
          <p:nvPr/>
        </p:nvGrpSpPr>
        <p:grpSpPr>
          <a:xfrm>
            <a:off x="2103243" y="4949873"/>
            <a:ext cx="288843" cy="288843"/>
            <a:chOff x="363376" y="32458"/>
            <a:chExt cx="288843" cy="288843"/>
          </a:xfrm>
        </p:grpSpPr>
        <p:sp>
          <p:nvSpPr>
            <p:cNvPr id="74" name="Shape 73">
              <a:extLst>
                <a:ext uri="{FF2B5EF4-FFF2-40B4-BE49-F238E27FC236}">
                  <a16:creationId xmlns:a16="http://schemas.microsoft.com/office/drawing/2014/main" id="{69466965-771F-4A27-880C-B4B0AEFFEFE5}"/>
                </a:ext>
              </a:extLst>
            </p:cNvPr>
            <p:cNvSpPr/>
            <p:nvPr/>
          </p:nvSpPr>
          <p:spPr>
            <a:xfrm rot="20700000">
              <a:off x="363376" y="32458"/>
              <a:ext cx="288843" cy="288843"/>
            </a:xfrm>
            <a:prstGeom prst="gear6">
              <a:avLst/>
            </a:prstGeom>
            <a:solidFill>
              <a:srgbClr val="FFC000">
                <a:hueOff val="10395692"/>
                <a:satOff val="-47968"/>
                <a:lumOff val="1765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75" name="Shape 8">
              <a:extLst>
                <a:ext uri="{FF2B5EF4-FFF2-40B4-BE49-F238E27FC236}">
                  <a16:creationId xmlns:a16="http://schemas.microsoft.com/office/drawing/2014/main" id="{BE70E654-90E3-4896-8C0D-625A4E6E4BB1}"/>
                </a:ext>
              </a:extLst>
            </p:cNvPr>
            <p:cNvSpPr/>
            <p:nvPr/>
          </p:nvSpPr>
          <p:spPr>
            <a:xfrm>
              <a:off x="426728" y="95809"/>
              <a:ext cx="162140" cy="16214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76" name="Circular Arrow 87">
            <a:extLst>
              <a:ext uri="{FF2B5EF4-FFF2-40B4-BE49-F238E27FC236}">
                <a16:creationId xmlns:a16="http://schemas.microsoft.com/office/drawing/2014/main" id="{77583E13-ACAF-49D2-8F0B-1CD82EEB4A25}"/>
              </a:ext>
            </a:extLst>
          </p:cNvPr>
          <p:cNvSpPr/>
          <p:nvPr/>
        </p:nvSpPr>
        <p:spPr>
          <a:xfrm>
            <a:off x="2119426" y="5213730"/>
            <a:ext cx="518848" cy="518848"/>
          </a:xfrm>
          <a:prstGeom prst="circularArrow">
            <a:avLst>
              <a:gd name="adj1" fmla="val 4688"/>
              <a:gd name="adj2" fmla="val 299029"/>
              <a:gd name="adj3" fmla="val 2239298"/>
              <a:gd name="adj4" fmla="val 16714544"/>
              <a:gd name="adj5" fmla="val 5469"/>
            </a:avLst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77" name="Shape 76">
            <a:extLst>
              <a:ext uri="{FF2B5EF4-FFF2-40B4-BE49-F238E27FC236}">
                <a16:creationId xmlns:a16="http://schemas.microsoft.com/office/drawing/2014/main" id="{FCAB9A46-9029-4993-B00B-33C21730C3DD}"/>
              </a:ext>
            </a:extLst>
          </p:cNvPr>
          <p:cNvSpPr/>
          <p:nvPr/>
        </p:nvSpPr>
        <p:spPr>
          <a:xfrm>
            <a:off x="1885916" y="5102864"/>
            <a:ext cx="376975" cy="376975"/>
          </a:xfrm>
          <a:prstGeom prst="leftCircularArrow">
            <a:avLst>
              <a:gd name="adj1" fmla="val 6452"/>
              <a:gd name="adj2" fmla="val 429999"/>
              <a:gd name="adj3" fmla="val 10489124"/>
              <a:gd name="adj4" fmla="val 14837806"/>
              <a:gd name="adj5" fmla="val 7527"/>
            </a:avLst>
          </a:prstGeom>
          <a:solidFill>
            <a:srgbClr val="FFC000">
              <a:hueOff val="5197846"/>
              <a:satOff val="-23984"/>
              <a:lumOff val="883"/>
              <a:alphaOff val="0"/>
            </a:srgbClr>
          </a:solidFill>
          <a:ln>
            <a:noFill/>
          </a:ln>
          <a:effectLst/>
        </p:spPr>
      </p:sp>
      <p:sp>
        <p:nvSpPr>
          <p:cNvPr id="78" name="Circular Arrow 89">
            <a:extLst>
              <a:ext uri="{FF2B5EF4-FFF2-40B4-BE49-F238E27FC236}">
                <a16:creationId xmlns:a16="http://schemas.microsoft.com/office/drawing/2014/main" id="{A6D75FA6-FC29-44EF-AF56-9691316CB02C}"/>
              </a:ext>
            </a:extLst>
          </p:cNvPr>
          <p:cNvSpPr/>
          <p:nvPr/>
        </p:nvSpPr>
        <p:spPr>
          <a:xfrm>
            <a:off x="2036430" y="4901443"/>
            <a:ext cx="406455" cy="406455"/>
          </a:xfrm>
          <a:prstGeom prst="circularArrow">
            <a:avLst>
              <a:gd name="adj1" fmla="val 5984"/>
              <a:gd name="adj2" fmla="val 394124"/>
              <a:gd name="adj3" fmla="val 13313824"/>
              <a:gd name="adj4" fmla="val 10508221"/>
              <a:gd name="adj5" fmla="val 6981"/>
            </a:avLst>
          </a:prstGeom>
          <a:solidFill>
            <a:srgbClr val="FFC000">
              <a:hueOff val="10395692"/>
              <a:satOff val="-47968"/>
              <a:lumOff val="1765"/>
              <a:alphaOff val="0"/>
            </a:srgbClr>
          </a:solidFill>
          <a:ln>
            <a:noFill/>
          </a:ln>
          <a:effectLst/>
        </p:spPr>
      </p:sp>
      <p:sp>
        <p:nvSpPr>
          <p:cNvPr id="79" name="Rounded Rectangle 90">
            <a:extLst>
              <a:ext uri="{FF2B5EF4-FFF2-40B4-BE49-F238E27FC236}">
                <a16:creationId xmlns:a16="http://schemas.microsoft.com/office/drawing/2014/main" id="{9FC74244-75B2-4FD8-86AC-4F7E8BEAD86E}"/>
              </a:ext>
            </a:extLst>
          </p:cNvPr>
          <p:cNvSpPr/>
          <p:nvPr/>
        </p:nvSpPr>
        <p:spPr>
          <a:xfrm>
            <a:off x="5040367" y="3906130"/>
            <a:ext cx="1946246" cy="947208"/>
          </a:xfrm>
          <a:prstGeom prst="roundRect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onen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0" name="Diagram 79">
            <a:extLst>
              <a:ext uri="{FF2B5EF4-FFF2-40B4-BE49-F238E27FC236}">
                <a16:creationId xmlns:a16="http://schemas.microsoft.com/office/drawing/2014/main" id="{94E1BB4F-83EF-4976-A5D5-46C205A6B07E}"/>
              </a:ext>
            </a:extLst>
          </p:cNvPr>
          <p:cNvGraphicFramePr/>
          <p:nvPr/>
        </p:nvGraphicFramePr>
        <p:xfrm>
          <a:off x="5755881" y="4114783"/>
          <a:ext cx="673645" cy="633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81" name="Rounded Rectangle 93">
            <a:extLst>
              <a:ext uri="{FF2B5EF4-FFF2-40B4-BE49-F238E27FC236}">
                <a16:creationId xmlns:a16="http://schemas.microsoft.com/office/drawing/2014/main" id="{8104E400-E0D7-483C-932C-EDA1D92E1B35}"/>
              </a:ext>
            </a:extLst>
          </p:cNvPr>
          <p:cNvSpPr/>
          <p:nvPr/>
        </p:nvSpPr>
        <p:spPr>
          <a:xfrm>
            <a:off x="5047376" y="1246362"/>
            <a:ext cx="1946246" cy="817938"/>
          </a:xfrm>
          <a:prstGeom prst="roundRect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plat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  &gt;</a:t>
            </a:r>
          </a:p>
        </p:txBody>
      </p:sp>
      <p:sp>
        <p:nvSpPr>
          <p:cNvPr id="82" name="Cloud Callout 94">
            <a:extLst>
              <a:ext uri="{FF2B5EF4-FFF2-40B4-BE49-F238E27FC236}">
                <a16:creationId xmlns:a16="http://schemas.microsoft.com/office/drawing/2014/main" id="{01D8EA82-98F9-415A-A396-5D5958948B40}"/>
              </a:ext>
            </a:extLst>
          </p:cNvPr>
          <p:cNvSpPr/>
          <p:nvPr/>
        </p:nvSpPr>
        <p:spPr>
          <a:xfrm>
            <a:off x="4676861" y="2503900"/>
            <a:ext cx="2806118" cy="986255"/>
          </a:xfrm>
          <a:prstGeom prst="cloudCallout">
            <a:avLst/>
          </a:prstGeom>
          <a:solidFill>
            <a:srgbClr val="ED7D31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Data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Curved Left Arrow 100">
            <a:extLst>
              <a:ext uri="{FF2B5EF4-FFF2-40B4-BE49-F238E27FC236}">
                <a16:creationId xmlns:a16="http://schemas.microsoft.com/office/drawing/2014/main" id="{B2EADAF3-8622-4467-A5EB-1361E4820EB5}"/>
              </a:ext>
            </a:extLst>
          </p:cNvPr>
          <p:cNvSpPr/>
          <p:nvPr/>
        </p:nvSpPr>
        <p:spPr>
          <a:xfrm>
            <a:off x="6986613" y="1506327"/>
            <a:ext cx="1673219" cy="3141782"/>
          </a:xfrm>
          <a:prstGeom prst="curvedLef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Event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Binding</a:t>
            </a:r>
          </a:p>
        </p:txBody>
      </p:sp>
      <p:sp>
        <p:nvSpPr>
          <p:cNvPr id="84" name="Cloud Callout 101">
            <a:extLst>
              <a:ext uri="{FF2B5EF4-FFF2-40B4-BE49-F238E27FC236}">
                <a16:creationId xmlns:a16="http://schemas.microsoft.com/office/drawing/2014/main" id="{3FF54E01-5416-4E70-AC69-7270A48D9430}"/>
              </a:ext>
            </a:extLst>
          </p:cNvPr>
          <p:cNvSpPr/>
          <p:nvPr/>
        </p:nvSpPr>
        <p:spPr>
          <a:xfrm>
            <a:off x="9175971" y="297894"/>
            <a:ext cx="2077307" cy="782822"/>
          </a:xfrm>
          <a:prstGeom prst="cloudCallou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Data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Curved Right Arrow 102">
            <a:extLst>
              <a:ext uri="{FF2B5EF4-FFF2-40B4-BE49-F238E27FC236}">
                <a16:creationId xmlns:a16="http://schemas.microsoft.com/office/drawing/2014/main" id="{17D14188-97E9-4907-9EFE-89C02DA96F6C}"/>
              </a:ext>
            </a:extLst>
          </p:cNvPr>
          <p:cNvSpPr/>
          <p:nvPr/>
        </p:nvSpPr>
        <p:spPr>
          <a:xfrm rot="10800000" flipH="1">
            <a:off x="3323478" y="1246362"/>
            <a:ext cx="1716889" cy="3372692"/>
          </a:xfrm>
          <a:prstGeom prst="curved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Content Placeholder 2">
            <a:extLst>
              <a:ext uri="{FF2B5EF4-FFF2-40B4-BE49-F238E27FC236}">
                <a16:creationId xmlns:a16="http://schemas.microsoft.com/office/drawing/2014/main" id="{829A61D0-D2F8-4DB1-AD2E-D87B2FBDB4B9}"/>
              </a:ext>
            </a:extLst>
          </p:cNvPr>
          <p:cNvSpPr txBox="1">
            <a:spLocks/>
          </p:cNvSpPr>
          <p:nvPr/>
        </p:nvSpPr>
        <p:spPr>
          <a:xfrm>
            <a:off x="3597057" y="2681992"/>
            <a:ext cx="1079804" cy="67743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ind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7D049522-D396-45A1-829B-CA61A1903674}"/>
              </a:ext>
            </a:extLst>
          </p:cNvPr>
          <p:cNvCxnSpPr>
            <a:stCxn id="51" idx="3"/>
            <a:endCxn id="85" idx="4"/>
          </p:cNvCxnSpPr>
          <p:nvPr/>
        </p:nvCxnSpPr>
        <p:spPr>
          <a:xfrm>
            <a:off x="2684477" y="4379734"/>
            <a:ext cx="2355890" cy="24709"/>
          </a:xfrm>
          <a:prstGeom prst="straightConnector1">
            <a:avLst/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A164D25-61F3-4A1B-BEB4-366873F8FCE2}"/>
              </a:ext>
            </a:extLst>
          </p:cNvPr>
          <p:cNvGrpSpPr/>
          <p:nvPr/>
        </p:nvGrpSpPr>
        <p:grpSpPr>
          <a:xfrm>
            <a:off x="9280985" y="1228774"/>
            <a:ext cx="2073514" cy="986255"/>
            <a:chOff x="436029" y="185291"/>
            <a:chExt cx="760671" cy="760671"/>
          </a:xfrm>
        </p:grpSpPr>
        <p:sp>
          <p:nvSpPr>
            <p:cNvPr id="89" name="Rounded Rectangle 112">
              <a:extLst>
                <a:ext uri="{FF2B5EF4-FFF2-40B4-BE49-F238E27FC236}">
                  <a16:creationId xmlns:a16="http://schemas.microsoft.com/office/drawing/2014/main" id="{610F5BFF-C351-4B8E-AD50-11E4DCBD652F}"/>
                </a:ext>
              </a:extLst>
            </p:cNvPr>
            <p:cNvSpPr/>
            <p:nvPr/>
          </p:nvSpPr>
          <p:spPr>
            <a:xfrm>
              <a:off x="436029" y="185291"/>
              <a:ext cx="760671" cy="760671"/>
            </a:xfrm>
            <a:prstGeom prst="roundRect">
              <a:avLst/>
            </a:prstGeom>
            <a:solidFill>
              <a:srgbClr val="5B9BD5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90" name="Rounded Rectangle 4">
              <a:extLst>
                <a:ext uri="{FF2B5EF4-FFF2-40B4-BE49-F238E27FC236}">
                  <a16:creationId xmlns:a16="http://schemas.microsoft.com/office/drawing/2014/main" id="{52EF53D3-12F5-4092-88AA-616956D9A3E0}"/>
                </a:ext>
              </a:extLst>
            </p:cNvPr>
            <p:cNvSpPr/>
            <p:nvPr/>
          </p:nvSpPr>
          <p:spPr>
            <a:xfrm>
              <a:off x="473162" y="222424"/>
              <a:ext cx="686405" cy="6864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rective</a:t>
              </a:r>
            </a:p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{ }</a:t>
              </a:r>
            </a:p>
          </p:txBody>
        </p:sp>
      </p:grp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16E3D0D-0A9C-474D-BB01-46BFA10AF576}"/>
              </a:ext>
            </a:extLst>
          </p:cNvPr>
          <p:cNvCxnSpPr>
            <a:stCxn id="89" idx="1"/>
            <a:endCxn id="83" idx="0"/>
          </p:cNvCxnSpPr>
          <p:nvPr/>
        </p:nvCxnSpPr>
        <p:spPr>
          <a:xfrm flipH="1" flipV="1">
            <a:off x="6986613" y="1715479"/>
            <a:ext cx="2294372" cy="6423"/>
          </a:xfrm>
          <a:prstGeom prst="straightConnector1">
            <a:avLst/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7558104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AE36709-C9C8-4716-B42D-6DC91982947B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" r="2351" b="-1"/>
          <a:stretch/>
        </p:blipFill>
        <p:spPr bwMode="auto">
          <a:xfrm>
            <a:off x="477012" y="480060"/>
            <a:ext cx="11237975" cy="58978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92742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33165"/>
          </a:xfrm>
        </p:spPr>
        <p:txBody>
          <a:bodyPr>
            <a:normAutofit fontScale="90000"/>
          </a:bodyPr>
          <a:lstStyle/>
          <a:p>
            <a:r>
              <a:rPr lang="en-US" dirty="0"/>
              <a:t>Core Concepts (Data binding)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86375"/>
            <a:ext cx="10515600" cy="198455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mechanism for coordinating parts of a template with parts of a component</a:t>
            </a:r>
          </a:p>
          <a:p>
            <a:pPr marL="0" indent="0">
              <a:buNone/>
            </a:pPr>
            <a:r>
              <a:rPr lang="en-US" dirty="0"/>
              <a:t>Binding Markup added to the template HTML.</a:t>
            </a:r>
          </a:p>
          <a:p>
            <a:pPr marL="0" indent="0">
              <a:buNone/>
            </a:pPr>
            <a:r>
              <a:rPr lang="en-US" dirty="0"/>
              <a:t>Four forms of Databinding syntax: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00651" y="3312121"/>
            <a:ext cx="409973" cy="2648257"/>
            <a:chOff x="1490201" y="-1"/>
            <a:chExt cx="409973" cy="2157757"/>
          </a:xfrm>
        </p:grpSpPr>
        <p:sp>
          <p:nvSpPr>
            <p:cNvPr id="10" name="Rectangle 9"/>
            <p:cNvSpPr/>
            <p:nvPr/>
          </p:nvSpPr>
          <p:spPr>
            <a:xfrm rot="16200000">
              <a:off x="616309" y="873891"/>
              <a:ext cx="2157757" cy="40997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 rot="5400000">
              <a:off x="616309" y="873891"/>
              <a:ext cx="2157757" cy="4099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COMPONENT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909041" y="3312120"/>
            <a:ext cx="409973" cy="2648257"/>
            <a:chOff x="1490201" y="-1"/>
            <a:chExt cx="409973" cy="2157757"/>
          </a:xfrm>
        </p:grpSpPr>
        <p:sp>
          <p:nvSpPr>
            <p:cNvPr id="13" name="Rectangle 12"/>
            <p:cNvSpPr/>
            <p:nvPr/>
          </p:nvSpPr>
          <p:spPr>
            <a:xfrm rot="16200000">
              <a:off x="616309" y="873891"/>
              <a:ext cx="2157757" cy="40997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 13"/>
            <p:cNvSpPr/>
            <p:nvPr/>
          </p:nvSpPr>
          <p:spPr>
            <a:xfrm rot="16200000">
              <a:off x="616309" y="873891"/>
              <a:ext cx="2157757" cy="4099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DOM</a:t>
              </a:r>
            </a:p>
          </p:txBody>
        </p:sp>
      </p:grpSp>
      <p:cxnSp>
        <p:nvCxnSpPr>
          <p:cNvPr id="18" name="Straight Arrow Connector 17"/>
          <p:cNvCxnSpPr/>
          <p:nvPr/>
        </p:nvCxnSpPr>
        <p:spPr>
          <a:xfrm flipH="1">
            <a:off x="1317609" y="3758938"/>
            <a:ext cx="2572941" cy="23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1317609" y="4444839"/>
            <a:ext cx="2509641" cy="76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1317609" y="5109816"/>
            <a:ext cx="2509641" cy="38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1330106" y="5746458"/>
            <a:ext cx="2445552" cy="3240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2"/>
          <p:cNvSpPr txBox="1">
            <a:spLocks/>
          </p:cNvSpPr>
          <p:nvPr/>
        </p:nvSpPr>
        <p:spPr>
          <a:xfrm>
            <a:off x="2009101" y="3477490"/>
            <a:ext cx="910205" cy="2558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{{ value}}</a:t>
            </a: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1618619" y="4165615"/>
            <a:ext cx="1816217" cy="352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[property] = “value”</a:t>
            </a: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1664320" y="4852926"/>
            <a:ext cx="1816217" cy="352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(event) = “handler”</a:t>
            </a:r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450059" y="5444133"/>
            <a:ext cx="2124514" cy="352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[(ng-model)] = “property”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9344924" y="5385064"/>
            <a:ext cx="1374125" cy="75703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r>
              <a:rPr lang="en-US" sz="1400" dirty="0"/>
              <a:t>Component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graphicFrame>
        <p:nvGraphicFramePr>
          <p:cNvPr id="33" name="Diagram 32"/>
          <p:cNvGraphicFramePr/>
          <p:nvPr/>
        </p:nvGraphicFramePr>
        <p:xfrm>
          <a:off x="9797080" y="5657707"/>
          <a:ext cx="475619" cy="401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" name="Rounded Rectangle 33"/>
          <p:cNvSpPr/>
          <p:nvPr/>
        </p:nvSpPr>
        <p:spPr>
          <a:xfrm>
            <a:off x="9287324" y="3130402"/>
            <a:ext cx="1374125" cy="653717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mplate</a:t>
            </a:r>
          </a:p>
          <a:p>
            <a:pPr algn="ctr"/>
            <a:r>
              <a:rPr lang="en-US" dirty="0"/>
              <a:t>&lt;   &gt;</a:t>
            </a:r>
          </a:p>
        </p:txBody>
      </p:sp>
      <p:sp>
        <p:nvSpPr>
          <p:cNvPr id="35" name="Cloud Callout 34"/>
          <p:cNvSpPr/>
          <p:nvPr/>
        </p:nvSpPr>
        <p:spPr>
          <a:xfrm>
            <a:off x="9111980" y="4188095"/>
            <a:ext cx="1724815" cy="788240"/>
          </a:xfrm>
          <a:prstGeom prst="cloudCallou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taData</a:t>
            </a:r>
            <a:endParaRPr lang="en-US" dirty="0"/>
          </a:p>
        </p:txBody>
      </p:sp>
      <p:sp>
        <p:nvSpPr>
          <p:cNvPr id="36" name="Curved Left Arrow 35"/>
          <p:cNvSpPr/>
          <p:nvPr/>
        </p:nvSpPr>
        <p:spPr>
          <a:xfrm>
            <a:off x="10686827" y="3325559"/>
            <a:ext cx="1181357" cy="2676664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 </a:t>
            </a:r>
            <a:r>
              <a:rPr lang="en-US" sz="1400" dirty="0">
                <a:solidFill>
                  <a:schemeClr val="tx1"/>
                </a:solidFill>
              </a:rPr>
              <a:t> Event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     Binding</a:t>
            </a:r>
          </a:p>
        </p:txBody>
      </p:sp>
      <p:sp>
        <p:nvSpPr>
          <p:cNvPr id="37" name="Curved Right Arrow 36"/>
          <p:cNvSpPr/>
          <p:nvPr/>
        </p:nvSpPr>
        <p:spPr>
          <a:xfrm rot="10800000" flipH="1">
            <a:off x="8138190" y="3185510"/>
            <a:ext cx="1212190" cy="2695540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Content Placeholder 2"/>
          <p:cNvSpPr txBox="1">
            <a:spLocks/>
          </p:cNvSpPr>
          <p:nvPr/>
        </p:nvSpPr>
        <p:spPr>
          <a:xfrm>
            <a:off x="8245935" y="4311504"/>
            <a:ext cx="945220" cy="541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Property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 Binding</a:t>
            </a:r>
          </a:p>
        </p:txBody>
      </p:sp>
      <p:sp>
        <p:nvSpPr>
          <p:cNvPr id="46" name="Content Placeholder 2"/>
          <p:cNvSpPr txBox="1">
            <a:spLocks/>
          </p:cNvSpPr>
          <p:nvPr/>
        </p:nvSpPr>
        <p:spPr>
          <a:xfrm>
            <a:off x="4379012" y="3646373"/>
            <a:ext cx="3733800" cy="2491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li&gt;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{{myApp.name}}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/li&gt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app-</a:t>
            </a:r>
            <a:r>
              <a:rPr lang="en-US" sz="1400" dirty="0" err="1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tail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</a:t>
            </a:r>
            <a:r>
              <a:rPr lang="en-US" sz="1400" dirty="0" err="1">
                <a:solidFill>
                  <a:srgbClr val="66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  <a:r>
              <a:rPr lang="en-US" sz="1400" dirty="0">
                <a:solidFill>
                  <a:srgbClr val="66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400" dirty="0" err="1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edMyApp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/app-</a:t>
            </a:r>
            <a:r>
              <a:rPr lang="en-US" sz="1400" dirty="0" err="1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tail&gt;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li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400" dirty="0">
                <a:solidFill>
                  <a:srgbClr val="660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sz="1400" dirty="0">
                <a:solidFill>
                  <a:srgbClr val="66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400" dirty="0" err="1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MyApp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400" dirty="0" err="1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pp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"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&lt;/li&gt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input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(</a:t>
            </a:r>
            <a:r>
              <a:rPr lang="en-US" sz="1400" dirty="0" err="1">
                <a:solidFill>
                  <a:srgbClr val="660066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ngModel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]</a:t>
            </a:r>
            <a:r>
              <a:rPr lang="en-US" sz="1400" dirty="0">
                <a:solidFill>
                  <a:srgbClr val="66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400" dirty="0">
                <a:solidFill>
                  <a:srgbClr val="8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myApp.name"</a:t>
            </a:r>
            <a:r>
              <a:rPr lang="en-US" sz="1400" dirty="0">
                <a:solidFill>
                  <a:srgbClr val="00008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168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900</Words>
  <Application>Microsoft Office PowerPoint</Application>
  <PresentationFormat>Widescreen</PresentationFormat>
  <Paragraphs>253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Calibri</vt:lpstr>
      <vt:lpstr>Calibri Light</vt:lpstr>
      <vt:lpstr>Droid Sans Mono</vt:lpstr>
      <vt:lpstr>Graphik</vt:lpstr>
      <vt:lpstr>Graphik Black</vt:lpstr>
      <vt:lpstr>Wingdings</vt:lpstr>
      <vt:lpstr>CA00000_Acc_Engl</vt:lpstr>
      <vt:lpstr>Metropolitan</vt:lpstr>
      <vt:lpstr>think-cell Slide</vt:lpstr>
      <vt:lpstr>Node &amp; Mongo Integration</vt:lpstr>
      <vt:lpstr>PowerPoint Presentation</vt:lpstr>
      <vt:lpstr>What is Angular?</vt:lpstr>
      <vt:lpstr>Advantages and Disadvantages of Angular</vt:lpstr>
      <vt:lpstr>History with AngularJS</vt:lpstr>
      <vt:lpstr>Introduction of Typescript</vt:lpstr>
      <vt:lpstr>PowerPoint Presentation</vt:lpstr>
      <vt:lpstr>PowerPoint Presentation</vt:lpstr>
      <vt:lpstr>Core Concepts (Data binding)  </vt:lpstr>
      <vt:lpstr>Core Concepts (Directives)  </vt:lpstr>
      <vt:lpstr>Core Concepts (Services)</vt:lpstr>
      <vt:lpstr>Core Concepts (Dependency injection)</vt:lpstr>
      <vt:lpstr>Understanding Angular Component Hierarchy </vt:lpstr>
      <vt:lpstr>Understanding Angular Modul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iz Time</vt:lpstr>
      <vt:lpstr>Li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angular</dc:title>
  <dc:creator>BIPUL KUMAR</dc:creator>
  <cp:lastModifiedBy>Ashoka Mahadevaiah</cp:lastModifiedBy>
  <cp:revision>11</cp:revision>
  <dcterms:created xsi:type="dcterms:W3CDTF">2020-05-04T13:13:30Z</dcterms:created>
  <dcterms:modified xsi:type="dcterms:W3CDTF">2020-05-06T17:28:04Z</dcterms:modified>
</cp:coreProperties>
</file>